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9.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0.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1.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3.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4.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688" r:id="rId2"/>
    <p:sldMasterId id="2147483700" r:id="rId3"/>
    <p:sldMasterId id="2147483712" r:id="rId4"/>
    <p:sldMasterId id="2147483724" r:id="rId5"/>
    <p:sldMasterId id="2147483736" r:id="rId6"/>
    <p:sldMasterId id="2147483748" r:id="rId7"/>
    <p:sldMasterId id="2147483760" r:id="rId8"/>
    <p:sldMasterId id="2147483793" r:id="rId9"/>
    <p:sldMasterId id="2147483806" r:id="rId10"/>
    <p:sldMasterId id="2147483852" r:id="rId11"/>
    <p:sldMasterId id="2147483865" r:id="rId12"/>
    <p:sldMasterId id="2147483878" r:id="rId13"/>
    <p:sldMasterId id="2147483891" r:id="rId14"/>
    <p:sldMasterId id="2147483938" r:id="rId15"/>
  </p:sldMasterIdLst>
  <p:notesMasterIdLst>
    <p:notesMasterId r:id="rId44"/>
  </p:notesMasterIdLst>
  <p:handoutMasterIdLst>
    <p:handoutMasterId r:id="rId45"/>
  </p:handoutMasterIdLst>
  <p:sldIdLst>
    <p:sldId id="257" r:id="rId16"/>
    <p:sldId id="341" r:id="rId17"/>
    <p:sldId id="345" r:id="rId18"/>
    <p:sldId id="346" r:id="rId19"/>
    <p:sldId id="349" r:id="rId20"/>
    <p:sldId id="351" r:id="rId21"/>
    <p:sldId id="354" r:id="rId22"/>
    <p:sldId id="348" r:id="rId23"/>
    <p:sldId id="368" r:id="rId24"/>
    <p:sldId id="355" r:id="rId25"/>
    <p:sldId id="356" r:id="rId26"/>
    <p:sldId id="367" r:id="rId27"/>
    <p:sldId id="359" r:id="rId28"/>
    <p:sldId id="360" r:id="rId29"/>
    <p:sldId id="369" r:id="rId30"/>
    <p:sldId id="364" r:id="rId31"/>
    <p:sldId id="363" r:id="rId32"/>
    <p:sldId id="366" r:id="rId33"/>
    <p:sldId id="365" r:id="rId34"/>
    <p:sldId id="370" r:id="rId35"/>
    <p:sldId id="372" r:id="rId36"/>
    <p:sldId id="373" r:id="rId37"/>
    <p:sldId id="374" r:id="rId38"/>
    <p:sldId id="379" r:id="rId39"/>
    <p:sldId id="375" r:id="rId40"/>
    <p:sldId id="376" r:id="rId41"/>
    <p:sldId id="380" r:id="rId42"/>
    <p:sldId id="283" r:id="rId43"/>
  </p:sldIdLst>
  <p:sldSz cx="9144000" cy="6858000" type="screen4x3"/>
  <p:notesSz cx="7010400" cy="9296400"/>
  <p:custDataLst>
    <p:tags r:id="rId46"/>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66A64"/>
    <a:srgbClr val="1919EF"/>
    <a:srgbClr val="1304D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51" autoAdjust="0"/>
    <p:restoredTop sz="99364" autoAdjust="0"/>
  </p:normalViewPr>
  <p:slideViewPr>
    <p:cSldViewPr>
      <p:cViewPr>
        <p:scale>
          <a:sx n="90" d="100"/>
          <a:sy n="90" d="100"/>
        </p:scale>
        <p:origin x="-1650" y="-61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viewProps" Target="viewProp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da-DK"/>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F3729614-D864-4957-9FB4-351E93A725BF}" type="datetimeFigureOut">
              <a:rPr lang="da-DK" smtClean="0"/>
              <a:t>06-11-2012</a:t>
            </a:fld>
            <a:endParaRPr lang="da-DK"/>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da-DK"/>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31E334D4-1F1E-4461-9C5F-AE92867A050F}" type="slidenum">
              <a:rPr lang="da-DK" smtClean="0"/>
              <a:t>‹#›</a:t>
            </a:fld>
            <a:endParaRPr lang="da-DK"/>
          </a:p>
        </p:txBody>
      </p:sp>
    </p:spTree>
    <p:extLst>
      <p:ext uri="{BB962C8B-B14F-4D97-AF65-F5344CB8AC3E}">
        <p14:creationId xmlns:p14="http://schemas.microsoft.com/office/powerpoint/2010/main" val="431314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da-DK"/>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420650AC-2FBB-4FA2-8AAE-8970824E8E77}" type="datetimeFigureOut">
              <a:rPr lang="da-DK" smtClean="0"/>
              <a:t>06-11-2012</a:t>
            </a:fld>
            <a:endParaRPr lang="da-DK"/>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da-DK"/>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da-DK"/>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74E6662-268B-4D2A-B5E2-9979E205C411}" type="slidenum">
              <a:rPr lang="da-DK" smtClean="0"/>
              <a:t>‹#›</a:t>
            </a:fld>
            <a:endParaRPr lang="da-DK"/>
          </a:p>
        </p:txBody>
      </p:sp>
    </p:spTree>
    <p:extLst>
      <p:ext uri="{BB962C8B-B14F-4D97-AF65-F5344CB8AC3E}">
        <p14:creationId xmlns:p14="http://schemas.microsoft.com/office/powerpoint/2010/main" val="1337215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eaLnBrk="0" hangingPunct="0">
              <a:defRPr sz="1600">
                <a:solidFill>
                  <a:schemeClr val="bg1"/>
                </a:solidFill>
                <a:latin typeface="Arial" pitchFamily="34" charset="0"/>
              </a:defRPr>
            </a:lvl1pPr>
            <a:lvl2pPr marL="757066" indent="-291179" eaLnBrk="0" hangingPunct="0">
              <a:defRPr sz="1600">
                <a:solidFill>
                  <a:schemeClr val="bg1"/>
                </a:solidFill>
                <a:latin typeface="Arial" pitchFamily="34" charset="0"/>
              </a:defRPr>
            </a:lvl2pPr>
            <a:lvl3pPr marL="1164717" indent="-232943" eaLnBrk="0" hangingPunct="0">
              <a:defRPr sz="1600">
                <a:solidFill>
                  <a:schemeClr val="bg1"/>
                </a:solidFill>
                <a:latin typeface="Arial" pitchFamily="34" charset="0"/>
              </a:defRPr>
            </a:lvl3pPr>
            <a:lvl4pPr marL="1630604" indent="-232943" eaLnBrk="0" hangingPunct="0">
              <a:defRPr sz="1600">
                <a:solidFill>
                  <a:schemeClr val="bg1"/>
                </a:solidFill>
                <a:latin typeface="Arial" pitchFamily="34" charset="0"/>
              </a:defRPr>
            </a:lvl4pPr>
            <a:lvl5pPr marL="2096491" indent="-232943" eaLnBrk="0" hangingPunct="0">
              <a:defRPr sz="1600">
                <a:solidFill>
                  <a:schemeClr val="bg1"/>
                </a:solidFill>
                <a:latin typeface="Arial" pitchFamily="34" charset="0"/>
              </a:defRPr>
            </a:lvl5pPr>
            <a:lvl6pPr marL="2562377" indent="-232943" eaLnBrk="0" fontAlgn="base" hangingPunct="0">
              <a:spcBef>
                <a:spcPct val="0"/>
              </a:spcBef>
              <a:spcAft>
                <a:spcPct val="0"/>
              </a:spcAft>
              <a:defRPr sz="1600">
                <a:solidFill>
                  <a:schemeClr val="bg1"/>
                </a:solidFill>
                <a:latin typeface="Arial" pitchFamily="34" charset="0"/>
              </a:defRPr>
            </a:lvl6pPr>
            <a:lvl7pPr marL="3028264" indent="-232943" eaLnBrk="0" fontAlgn="base" hangingPunct="0">
              <a:spcBef>
                <a:spcPct val="0"/>
              </a:spcBef>
              <a:spcAft>
                <a:spcPct val="0"/>
              </a:spcAft>
              <a:defRPr sz="1600">
                <a:solidFill>
                  <a:schemeClr val="bg1"/>
                </a:solidFill>
                <a:latin typeface="Arial" pitchFamily="34" charset="0"/>
              </a:defRPr>
            </a:lvl7pPr>
            <a:lvl8pPr marL="3494151" indent="-232943" eaLnBrk="0" fontAlgn="base" hangingPunct="0">
              <a:spcBef>
                <a:spcPct val="0"/>
              </a:spcBef>
              <a:spcAft>
                <a:spcPct val="0"/>
              </a:spcAft>
              <a:defRPr sz="1600">
                <a:solidFill>
                  <a:schemeClr val="bg1"/>
                </a:solidFill>
                <a:latin typeface="Arial" pitchFamily="34" charset="0"/>
              </a:defRPr>
            </a:lvl8pPr>
            <a:lvl9pPr marL="3960038" indent="-232943" eaLnBrk="0" fontAlgn="base" hangingPunct="0">
              <a:spcBef>
                <a:spcPct val="0"/>
              </a:spcBef>
              <a:spcAft>
                <a:spcPct val="0"/>
              </a:spcAft>
              <a:defRPr sz="1600">
                <a:solidFill>
                  <a:schemeClr val="bg1"/>
                </a:solidFill>
                <a:latin typeface="Arial" pitchFamily="34" charset="0"/>
              </a:defRPr>
            </a:lvl9pPr>
          </a:lstStyle>
          <a:p>
            <a:pPr eaLnBrk="1" hangingPunct="1"/>
            <a:fld id="{2E3F81A8-FBA3-42AE-AFDB-AA2E9DCA33E8}" type="slidenum">
              <a:rPr lang="en-GB" sz="1200">
                <a:solidFill>
                  <a:prstClr val="black"/>
                </a:solidFill>
              </a:rPr>
              <a:pPr eaLnBrk="1" hangingPunct="1"/>
              <a:t>1</a:t>
            </a:fld>
            <a:endParaRPr lang="en-GB" sz="1200">
              <a:solidFill>
                <a:prstClr val="black"/>
              </a:solidFill>
            </a:endParaRPr>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p:spPr>
        <p:txBody>
          <a:bodyPr/>
          <a:lstStyle/>
          <a:p>
            <a:pPr eaLnBrk="1" hangingPunct="1"/>
            <a:endParaRPr lang="da-DK"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Pladsholder til diasbillede 1"/>
          <p:cNvSpPr>
            <a:spLocks noGrp="1" noRot="1" noChangeAspect="1" noTextEdit="1"/>
          </p:cNvSpPr>
          <p:nvPr>
            <p:ph type="sldImg"/>
          </p:nvPr>
        </p:nvSpPr>
        <p:spPr>
          <a:xfrm>
            <a:off x="1181100" y="696913"/>
            <a:ext cx="4649788" cy="3486150"/>
          </a:xfrm>
          <a:ln/>
        </p:spPr>
      </p:sp>
      <p:sp>
        <p:nvSpPr>
          <p:cNvPr id="367619" name="Pladsholder til noter 2"/>
          <p:cNvSpPr>
            <a:spLocks noGrp="1"/>
          </p:cNvSpPr>
          <p:nvPr>
            <p:ph type="body" idx="1"/>
          </p:nvPr>
        </p:nvSpPr>
        <p:spPr>
          <a:noFill/>
        </p:spPr>
        <p:txBody>
          <a:bodyPr/>
          <a:lstStyle/>
          <a:p>
            <a:endParaRPr lang="da-DK" dirty="0" smtClean="0">
              <a:latin typeface="Arial" pitchFamily="34" charset="0"/>
            </a:endParaRPr>
          </a:p>
        </p:txBody>
      </p:sp>
      <p:sp>
        <p:nvSpPr>
          <p:cNvPr id="367620" name="Pladsholder til diasnummer 3"/>
          <p:cNvSpPr>
            <a:spLocks noGrp="1"/>
          </p:cNvSpPr>
          <p:nvPr>
            <p:ph type="sldNum" sz="quarter" idx="5"/>
          </p:nvPr>
        </p:nvSpPr>
        <p:spPr>
          <a:noFill/>
        </p:spPr>
        <p:txBody>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fld id="{33CECF1C-9401-467A-AE23-B87E4053F41C}" type="slidenum">
              <a:rPr lang="en-GB" sz="1200" b="0" smtClean="0">
                <a:solidFill>
                  <a:srgbClr val="000000"/>
                </a:solidFill>
                <a:cs typeface="Arial" pitchFamily="34" charset="0"/>
              </a:rPr>
              <a:pPr eaLnBrk="1" hangingPunct="1"/>
              <a:t>19</a:t>
            </a:fld>
            <a:endParaRPr lang="en-GB" sz="1200" b="0" smtClean="0">
              <a:solidFill>
                <a:srgbClr val="000000"/>
              </a:solidFill>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endParaRPr lang="da-DK" smtClean="0">
              <a:latin typeface="Arial" charset="0"/>
            </a:endParaRPr>
          </a:p>
        </p:txBody>
      </p:sp>
      <p:sp>
        <p:nvSpPr>
          <p:cNvPr id="43012" name="Slide Number Placeholder 3"/>
          <p:cNvSpPr>
            <a:spLocks noGrp="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BC288FDD-CECB-436B-AF24-00E43CB244F6}" type="slidenum">
              <a:rPr lang="en-GB" sz="1200" smtClean="0">
                <a:solidFill>
                  <a:schemeClr val="tx1"/>
                </a:solidFill>
              </a:rPr>
              <a:pPr eaLnBrk="1" hangingPunct="1"/>
              <a:t>20</a:t>
            </a:fld>
            <a:endParaRPr lang="en-GB" sz="1200" smtClean="0">
              <a:solidFill>
                <a:schemeClr val="tx1"/>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7"/>
          <p:cNvSpPr>
            <a:spLocks noGrp="1" noChangeArrowheads="1"/>
          </p:cNvSpPr>
          <p:nvPr>
            <p:ph type="sldNum" sz="quarter" idx="5"/>
          </p:nvPr>
        </p:nvSpPr>
        <p:spPr>
          <a:noFill/>
        </p:spPr>
        <p:txBody>
          <a:bodyPr/>
          <a:lstStyle>
            <a:lvl1pPr defTabSz="893763" eaLnBrk="0" hangingPunct="0">
              <a:defRPr sz="1600">
                <a:solidFill>
                  <a:schemeClr val="bg1"/>
                </a:solidFill>
                <a:latin typeface="Arial" charset="0"/>
              </a:defRPr>
            </a:lvl1pPr>
            <a:lvl2pPr marL="742950" indent="-285750" defTabSz="893763" eaLnBrk="0" hangingPunct="0">
              <a:defRPr sz="1600">
                <a:solidFill>
                  <a:schemeClr val="bg1"/>
                </a:solidFill>
                <a:latin typeface="Arial" charset="0"/>
              </a:defRPr>
            </a:lvl2pPr>
            <a:lvl3pPr marL="1143000" indent="-228600" defTabSz="893763" eaLnBrk="0" hangingPunct="0">
              <a:defRPr sz="1600">
                <a:solidFill>
                  <a:schemeClr val="bg1"/>
                </a:solidFill>
                <a:latin typeface="Arial" charset="0"/>
              </a:defRPr>
            </a:lvl3pPr>
            <a:lvl4pPr marL="1600200" indent="-228600" defTabSz="893763" eaLnBrk="0" hangingPunct="0">
              <a:defRPr sz="1600">
                <a:solidFill>
                  <a:schemeClr val="bg1"/>
                </a:solidFill>
                <a:latin typeface="Arial" charset="0"/>
              </a:defRPr>
            </a:lvl4pPr>
            <a:lvl5pPr marL="2057400" indent="-228600" defTabSz="893763" eaLnBrk="0" hangingPunct="0">
              <a:defRPr sz="1600">
                <a:solidFill>
                  <a:schemeClr val="bg1"/>
                </a:solidFill>
                <a:latin typeface="Arial" charset="0"/>
              </a:defRPr>
            </a:lvl5pPr>
            <a:lvl6pPr marL="2514600" indent="-228600" algn="ctr" defTabSz="893763" eaLnBrk="0" fontAlgn="base" hangingPunct="0">
              <a:spcBef>
                <a:spcPct val="0"/>
              </a:spcBef>
              <a:spcAft>
                <a:spcPct val="0"/>
              </a:spcAft>
              <a:defRPr sz="1600">
                <a:solidFill>
                  <a:schemeClr val="bg1"/>
                </a:solidFill>
                <a:latin typeface="Arial" charset="0"/>
              </a:defRPr>
            </a:lvl6pPr>
            <a:lvl7pPr marL="2971800" indent="-228600" algn="ctr" defTabSz="893763" eaLnBrk="0" fontAlgn="base" hangingPunct="0">
              <a:spcBef>
                <a:spcPct val="0"/>
              </a:spcBef>
              <a:spcAft>
                <a:spcPct val="0"/>
              </a:spcAft>
              <a:defRPr sz="1600">
                <a:solidFill>
                  <a:schemeClr val="bg1"/>
                </a:solidFill>
                <a:latin typeface="Arial" charset="0"/>
              </a:defRPr>
            </a:lvl7pPr>
            <a:lvl8pPr marL="3429000" indent="-228600" algn="ctr" defTabSz="893763" eaLnBrk="0" fontAlgn="base" hangingPunct="0">
              <a:spcBef>
                <a:spcPct val="0"/>
              </a:spcBef>
              <a:spcAft>
                <a:spcPct val="0"/>
              </a:spcAft>
              <a:defRPr sz="1600">
                <a:solidFill>
                  <a:schemeClr val="bg1"/>
                </a:solidFill>
                <a:latin typeface="Arial" charset="0"/>
              </a:defRPr>
            </a:lvl8pPr>
            <a:lvl9pPr marL="3886200" indent="-228600" algn="ctr" defTabSz="893763" eaLnBrk="0" fontAlgn="base" hangingPunct="0">
              <a:spcBef>
                <a:spcPct val="0"/>
              </a:spcBef>
              <a:spcAft>
                <a:spcPct val="0"/>
              </a:spcAft>
              <a:defRPr sz="1600">
                <a:solidFill>
                  <a:schemeClr val="bg1"/>
                </a:solidFill>
                <a:latin typeface="Arial" charset="0"/>
              </a:defRPr>
            </a:lvl9pPr>
          </a:lstStyle>
          <a:p>
            <a:pPr eaLnBrk="1" hangingPunct="1"/>
            <a:fld id="{34EA8DE1-C497-401D-BCBC-AACC8907DF14}" type="slidenum">
              <a:rPr lang="en-GB" sz="1100" smtClean="0">
                <a:solidFill>
                  <a:srgbClr val="000000"/>
                </a:solidFill>
              </a:rPr>
              <a:pPr eaLnBrk="1" hangingPunct="1"/>
              <a:t>24</a:t>
            </a:fld>
            <a:endParaRPr lang="en-GB" sz="1100" smtClean="0">
              <a:solidFill>
                <a:srgbClr val="000000"/>
              </a:solidFill>
            </a:endParaRPr>
          </a:p>
        </p:txBody>
      </p:sp>
      <p:sp>
        <p:nvSpPr>
          <p:cNvPr id="174083" name="Rectangle 2"/>
          <p:cNvSpPr>
            <a:spLocks noGrp="1" noRot="1" noChangeAspect="1" noChangeArrowheads="1" noTextEdit="1"/>
          </p:cNvSpPr>
          <p:nvPr>
            <p:ph type="sldImg"/>
          </p:nvPr>
        </p:nvSpPr>
        <p:spPr>
          <a:ln/>
        </p:spPr>
      </p:sp>
      <p:sp>
        <p:nvSpPr>
          <p:cNvPr id="174084" name="Rectangle 3"/>
          <p:cNvSpPr>
            <a:spLocks noGrp="1" noChangeArrowheads="1"/>
          </p:cNvSpPr>
          <p:nvPr>
            <p:ph type="body" idx="1"/>
          </p:nvPr>
        </p:nvSpPr>
        <p:spPr>
          <a:noFill/>
        </p:spPr>
        <p:txBody>
          <a:bodyPr/>
          <a:lstStyle/>
          <a:p>
            <a:endParaRPr lang="da-DK"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endParaRPr lang="da-DK" smtClean="0">
              <a:latin typeface="Arial" charset="0"/>
            </a:endParaRPr>
          </a:p>
        </p:txBody>
      </p:sp>
      <p:sp>
        <p:nvSpPr>
          <p:cNvPr id="43012" name="Slide Number Placeholder 3"/>
          <p:cNvSpPr>
            <a:spLocks noGrp="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BC288FDD-CECB-436B-AF24-00E43CB244F6}" type="slidenum">
              <a:rPr lang="en-GB" sz="1200" smtClean="0">
                <a:solidFill>
                  <a:schemeClr val="tx1"/>
                </a:solidFill>
              </a:rPr>
              <a:pPr eaLnBrk="1" hangingPunct="1"/>
              <a:t>25</a:t>
            </a:fld>
            <a:endParaRPr lang="en-GB" sz="1200" smtClean="0">
              <a:solidFill>
                <a:schemeClr val="tx1"/>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eaLnBrk="0" hangingPunct="0">
              <a:defRPr sz="1600">
                <a:solidFill>
                  <a:schemeClr val="bg1"/>
                </a:solidFill>
                <a:latin typeface="Arial" charset="0"/>
                <a:cs typeface="Arial" charset="0"/>
              </a:defRPr>
            </a:lvl1pPr>
            <a:lvl2pPr marL="757066" indent="-291179" eaLnBrk="0" hangingPunct="0">
              <a:defRPr sz="1600">
                <a:solidFill>
                  <a:schemeClr val="bg1"/>
                </a:solidFill>
                <a:latin typeface="Arial" charset="0"/>
                <a:cs typeface="Arial" charset="0"/>
              </a:defRPr>
            </a:lvl2pPr>
            <a:lvl3pPr marL="1164717" indent="-232943" eaLnBrk="0" hangingPunct="0">
              <a:defRPr sz="1600">
                <a:solidFill>
                  <a:schemeClr val="bg1"/>
                </a:solidFill>
                <a:latin typeface="Arial" charset="0"/>
                <a:cs typeface="Arial" charset="0"/>
              </a:defRPr>
            </a:lvl3pPr>
            <a:lvl4pPr marL="1630604" indent="-232943" eaLnBrk="0" hangingPunct="0">
              <a:defRPr sz="1600">
                <a:solidFill>
                  <a:schemeClr val="bg1"/>
                </a:solidFill>
                <a:latin typeface="Arial" charset="0"/>
                <a:cs typeface="Arial" charset="0"/>
              </a:defRPr>
            </a:lvl4pPr>
            <a:lvl5pPr marL="2096491" indent="-232943" eaLnBrk="0" hangingPunct="0">
              <a:defRPr sz="1600">
                <a:solidFill>
                  <a:schemeClr val="bg1"/>
                </a:solidFill>
                <a:latin typeface="Arial" charset="0"/>
                <a:cs typeface="Arial" charset="0"/>
              </a:defRPr>
            </a:lvl5pPr>
            <a:lvl6pPr marL="2562377" indent="-232943" eaLnBrk="0" fontAlgn="base" hangingPunct="0">
              <a:spcBef>
                <a:spcPct val="0"/>
              </a:spcBef>
              <a:spcAft>
                <a:spcPct val="0"/>
              </a:spcAft>
              <a:defRPr sz="1600">
                <a:solidFill>
                  <a:schemeClr val="bg1"/>
                </a:solidFill>
                <a:latin typeface="Arial" charset="0"/>
                <a:cs typeface="Arial" charset="0"/>
              </a:defRPr>
            </a:lvl6pPr>
            <a:lvl7pPr marL="3028264" indent="-232943" eaLnBrk="0" fontAlgn="base" hangingPunct="0">
              <a:spcBef>
                <a:spcPct val="0"/>
              </a:spcBef>
              <a:spcAft>
                <a:spcPct val="0"/>
              </a:spcAft>
              <a:defRPr sz="1600">
                <a:solidFill>
                  <a:schemeClr val="bg1"/>
                </a:solidFill>
                <a:latin typeface="Arial" charset="0"/>
                <a:cs typeface="Arial" charset="0"/>
              </a:defRPr>
            </a:lvl7pPr>
            <a:lvl8pPr marL="3494151" indent="-232943" eaLnBrk="0" fontAlgn="base" hangingPunct="0">
              <a:spcBef>
                <a:spcPct val="0"/>
              </a:spcBef>
              <a:spcAft>
                <a:spcPct val="0"/>
              </a:spcAft>
              <a:defRPr sz="1600">
                <a:solidFill>
                  <a:schemeClr val="bg1"/>
                </a:solidFill>
                <a:latin typeface="Arial" charset="0"/>
                <a:cs typeface="Arial" charset="0"/>
              </a:defRPr>
            </a:lvl8pPr>
            <a:lvl9pPr marL="3960038" indent="-232943" eaLnBrk="0" fontAlgn="base" hangingPunct="0">
              <a:spcBef>
                <a:spcPct val="0"/>
              </a:spcBef>
              <a:spcAft>
                <a:spcPct val="0"/>
              </a:spcAft>
              <a:defRPr sz="1600">
                <a:solidFill>
                  <a:schemeClr val="bg1"/>
                </a:solidFill>
                <a:latin typeface="Arial" charset="0"/>
                <a:cs typeface="Arial" charset="0"/>
              </a:defRPr>
            </a:lvl9pPr>
          </a:lstStyle>
          <a:p>
            <a:pPr eaLnBrk="1" hangingPunct="1"/>
            <a:fld id="{57F3716B-F846-45ED-9613-6FE9D9D9A3C1}" type="slidenum">
              <a:rPr lang="en-GB" sz="1200">
                <a:solidFill>
                  <a:prstClr val="black"/>
                </a:solidFill>
              </a:rPr>
              <a:pPr eaLnBrk="1" hangingPunct="1"/>
              <a:t>28</a:t>
            </a:fld>
            <a:endParaRPr lang="en-GB" sz="1200">
              <a:solidFill>
                <a:prstClr val="black"/>
              </a:solidFill>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en-US" smtClean="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2260ABF3-C7D4-4BF2-ABC0-3ED54A8AA082}" type="slidenum">
              <a:rPr lang="en-GB" sz="1200" smtClean="0">
                <a:solidFill>
                  <a:schemeClr val="tx1"/>
                </a:solidFill>
              </a:rPr>
              <a:pPr eaLnBrk="1" hangingPunct="1"/>
              <a:t>3</a:t>
            </a:fld>
            <a:endParaRPr lang="en-GB" sz="1200" smtClean="0">
              <a:solidFill>
                <a:schemeClr val="tx1"/>
              </a:solidFill>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p:spPr>
        <p:txBody>
          <a:bodyPr/>
          <a:lstStyle/>
          <a:p>
            <a:pPr eaLnBrk="1" hangingPunct="1">
              <a:lnSpc>
                <a:spcPct val="80000"/>
              </a:lnSpc>
            </a:pPr>
            <a:r>
              <a:rPr lang="en-US" sz="800" b="1" smtClean="0">
                <a:latin typeface="Arial" charset="0"/>
              </a:rPr>
              <a:t>IT STARTED VERY SMALL WITH ONE MAN’S IDEAS </a:t>
            </a:r>
          </a:p>
          <a:p>
            <a:pPr eaLnBrk="1" hangingPunct="1">
              <a:lnSpc>
                <a:spcPct val="80000"/>
              </a:lnSpc>
            </a:pPr>
            <a:r>
              <a:rPr lang="en-US" sz="800" b="1" smtClean="0">
                <a:latin typeface="Arial" charset="0"/>
              </a:rPr>
              <a:t>Selected events in Vestas’ history:</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1898: The year it all begins </a:t>
            </a:r>
          </a:p>
          <a:p>
            <a:pPr eaLnBrk="1" hangingPunct="1">
              <a:lnSpc>
                <a:spcPct val="80000"/>
              </a:lnSpc>
            </a:pPr>
            <a:r>
              <a:rPr lang="en-US" sz="800" smtClean="0">
                <a:latin typeface="Arial" charset="0"/>
              </a:rPr>
              <a:t>Blacksmith H. S. Hansen steps off the train at Lem Station in Denmark. A short time later he establishes his first smithy in the town, his wealth of ideas and initiative making him immediately successful.  He later inspires many of his apprentices to open their own businesses, and Lem eventually becomes a major centre for the trade.</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28: Success for Dansk Staalvindue Industri </a:t>
            </a:r>
          </a:p>
          <a:p>
            <a:pPr eaLnBrk="1" hangingPunct="1">
              <a:lnSpc>
                <a:spcPct val="80000"/>
              </a:lnSpc>
            </a:pPr>
            <a:r>
              <a:rPr lang="en-US" sz="800" smtClean="0">
                <a:latin typeface="Arial" charset="0"/>
              </a:rPr>
              <a:t>"Blacksmith Hansen" and his son Peder Hansen establish Dansk Staalvindue Industri, which manufactures steel window frames for industrial buildings. The company is a success and four years later is restructured into a joint stock company. The success continues until World War II, but during the German occupation of Denmark, metal is in short supply and staff can only be given intermittent work.</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1945: Establishment of Vestas</a:t>
            </a:r>
          </a:p>
          <a:p>
            <a:pPr eaLnBrk="1" hangingPunct="1">
              <a:lnSpc>
                <a:spcPct val="80000"/>
              </a:lnSpc>
            </a:pPr>
            <a:r>
              <a:rPr lang="en-US" sz="800" smtClean="0">
                <a:latin typeface="Arial" charset="0"/>
              </a:rPr>
              <a:t>Peder Hansen leaves Dansk Staalvindue Industri. Together with nine other people he establishes VEstjysk STaalteknik A/S, which is quickly abbreviated as simply Vestas. With initial capital of DKK 75,000, they set themselves up in a wooden barrack and begin manufacturing household appliances such as mixers and baking scale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50: The first venture into exporting</a:t>
            </a:r>
          </a:p>
          <a:p>
            <a:pPr eaLnBrk="1" hangingPunct="1">
              <a:lnSpc>
                <a:spcPct val="80000"/>
              </a:lnSpc>
            </a:pPr>
            <a:r>
              <a:rPr lang="en-US" sz="800" smtClean="0">
                <a:latin typeface="Arial" charset="0"/>
              </a:rPr>
              <a:t>Production mainly consists of agricultural vehicles. First rubber tractors, then vacuum tankers, tankers, crop sprayers, ploughshares and other products, which become big export items, particularly in Finland, Germany and Belgium.</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56: Production of intercoolers</a:t>
            </a:r>
          </a:p>
          <a:p>
            <a:pPr eaLnBrk="1" hangingPunct="1">
              <a:lnSpc>
                <a:spcPct val="80000"/>
              </a:lnSpc>
            </a:pPr>
            <a:r>
              <a:rPr lang="en-US" sz="800" smtClean="0">
                <a:latin typeface="Arial" charset="0"/>
              </a:rPr>
              <a:t>Soren Hansen, deputy director at B&amp;W shipyards and Peder Hansen’s brother, tells his brother that the shipyard is interested in the development of a new type of cooler for marine engines. This marks the birth of yet another Vestas product. Peder Hansen takes on the task of developing and producing intercoolers - which together with the agricultural vehicles - are now Vestas' main product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59: “Blacksmith” Hansen buys out the others</a:t>
            </a:r>
          </a:p>
          <a:p>
            <a:pPr eaLnBrk="1" hangingPunct="1">
              <a:lnSpc>
                <a:spcPct val="80000"/>
              </a:lnSpc>
            </a:pPr>
            <a:r>
              <a:rPr lang="en-US" sz="800" smtClean="0">
                <a:latin typeface="Arial" charset="0"/>
              </a:rPr>
              <a:t>Peder Hansen buys the other shareholders out of Vestas and sells the production of milk coolers and troughs to Boerge Agerbo, owner of Agerbo Maskinfabrik and one of Vestas' former shareholders.</a:t>
            </a:r>
          </a:p>
          <a:p>
            <a:pPr eaLnBrk="1" hangingPunct="1">
              <a:lnSpc>
                <a:spcPct val="80000"/>
              </a:lnSpc>
            </a:pPr>
            <a:r>
              <a:rPr lang="en-US" sz="800" smtClean="0">
                <a:latin typeface="Arial" charset="0"/>
              </a:rPr>
              <a:t>….</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78: Experimenting with the whisk</a:t>
            </a:r>
          </a:p>
          <a:p>
            <a:pPr eaLnBrk="1" hangingPunct="1">
              <a:lnSpc>
                <a:spcPct val="80000"/>
              </a:lnSpc>
            </a:pPr>
            <a:r>
              <a:rPr lang="en-US" sz="800" smtClean="0">
                <a:latin typeface="Arial" charset="0"/>
              </a:rPr>
              <a:t>The second oil crisis is looming and Vestas begins to look into the potential of wind turbines as an alternative and clean source of energy. The Darrieus wind turbine, which looks like a whisk standing upright, is the first experiment. It does not live up to expectations, and after one and a half years of experimenting, Vestas switches to a three blade model – in principle the same type of turbine we know today.</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1979: The first turbine</a:t>
            </a:r>
          </a:p>
          <a:p>
            <a:pPr eaLnBrk="1" hangingPunct="1">
              <a:lnSpc>
                <a:spcPct val="80000"/>
              </a:lnSpc>
            </a:pPr>
            <a:r>
              <a:rPr lang="en-US" sz="800" smtClean="0">
                <a:latin typeface="Arial" charset="0"/>
              </a:rPr>
              <a:t>Vestas delivers the first wind turbines to customers who want to invest in sustainable energy. In the years that follow, it is clear that Vestas did the right thing by beginning the production of wind turbines, because the industry sees a real boom in the early 1980s. Six years later Vestas has about 800 staff. It is during this period that Vestas builds its first large turbine factory, measuring 12,000 m2, on the outskirts of Lem, Denmark.</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0: Serial production of wind turbines</a:t>
            </a:r>
          </a:p>
          <a:p>
            <a:pPr eaLnBrk="1" hangingPunct="1">
              <a:lnSpc>
                <a:spcPct val="80000"/>
              </a:lnSpc>
            </a:pPr>
            <a:r>
              <a:rPr lang="en-US" sz="800" smtClean="0">
                <a:latin typeface="Arial" charset="0"/>
              </a:rPr>
              <a:t>Vestas begins serial production of wind turbines and installs the first 80 units of 55 kW turbines. That same year Zond, Inc., an American company, asks to test Vestas’ turbines. These tests go well, and Zond is very happy with the turbines’ performance. New legislation in Denmark and the USA creates a large market for wind energy.</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1: Own production of glass fibre components</a:t>
            </a:r>
          </a:p>
          <a:p>
            <a:pPr eaLnBrk="1" hangingPunct="1">
              <a:lnSpc>
                <a:spcPct val="80000"/>
              </a:lnSpc>
            </a:pPr>
            <a:r>
              <a:rPr lang="en-US" sz="800" smtClean="0">
                <a:latin typeface="Arial" charset="0"/>
              </a:rPr>
              <a:t>The first large orders from the USA come in and Vestas decides to produce its own glass fibre components for the wind turbines to ensure consistent, high quality component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3: 2,500 wind turbines sold to the USA</a:t>
            </a:r>
          </a:p>
          <a:p>
            <a:pPr eaLnBrk="1" hangingPunct="1">
              <a:lnSpc>
                <a:spcPct val="80000"/>
              </a:lnSpc>
            </a:pPr>
            <a:r>
              <a:rPr lang="en-US" sz="800" smtClean="0">
                <a:latin typeface="Arial" charset="0"/>
              </a:rPr>
              <a:t>Glass fibre production is double that of 1981, enabling Vestas to manufacture its own blades for its wind turbines. Vestas North America, Ltd. is set up to service the American market. By the end of 1985 Vestas has sold 2,500 wind turbines to the US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5: The first pitch</a:t>
            </a:r>
          </a:p>
          <a:p>
            <a:pPr eaLnBrk="1" hangingPunct="1">
              <a:lnSpc>
                <a:spcPct val="80000"/>
              </a:lnSpc>
            </a:pPr>
            <a:r>
              <a:rPr lang="en-US" sz="800" smtClean="0">
                <a:latin typeface="Arial" charset="0"/>
              </a:rPr>
              <a:t>The first pitch-regulated turbine rolls out of Vestas’ factory. This feature, which optimises the turbine’s energy production by constantly fine-tuning the angle of the blades to the wind, becomes a key selling point. In fact, none of the competitors can offer anything like it. Since then, Vestas' pitch-regulation has become known by the name OptiTip®.</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6: Problems and rescue plan</a:t>
            </a:r>
          </a:p>
          <a:p>
            <a:pPr eaLnBrk="1" hangingPunct="1">
              <a:lnSpc>
                <a:spcPct val="80000"/>
              </a:lnSpc>
            </a:pPr>
            <a:r>
              <a:rPr lang="en-US" sz="800" smtClean="0">
                <a:latin typeface="Arial" charset="0"/>
              </a:rPr>
              <a:t>A difficult year for Vestas. The special tax laws that made it advantageous to build wind turbines in California lapsed in late 1985 and early 1986. A rescue plan is put into action in February, but on 3 October the Group goes into suspension of payment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But there is nothing wrong with the wind turbines, and Vestas’ quality products and in-depth know-how quickly prove to be a solid foundation for a restructuring. During 1986 Vestas has its first experiences with wind farms – an important factor in the successful fight to gain market share in the coming years.</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1987: Disposal and establishment of Vestas Wind Systems A/S</a:t>
            </a:r>
          </a:p>
          <a:p>
            <a:pPr eaLnBrk="1" hangingPunct="1">
              <a:lnSpc>
                <a:spcPct val="80000"/>
              </a:lnSpc>
            </a:pPr>
            <a:endParaRPr lang="en-US" sz="800" b="1" smtClean="0">
              <a:latin typeface="Arial" charset="0"/>
            </a:endParaRPr>
          </a:p>
          <a:p>
            <a:pPr eaLnBrk="1" hangingPunct="1">
              <a:lnSpc>
                <a:spcPct val="80000"/>
              </a:lnSpc>
            </a:pPr>
            <a:r>
              <a:rPr lang="en-US" sz="800" smtClean="0">
                <a:latin typeface="Arial" charset="0"/>
              </a:rPr>
              <a:t>Large portions of the Vestas Group are sold after the crisis in 1986. At the end of 1986 Vestas Wind Systems A/S, working solely with wind energy, is founded. With Johannes Poulsen as the new Managing Director and about 60 employees, the second chapter of Vestas' history begins. The same year Vestas RRB India Ltd. is founded in Indi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8: Danida projects in India</a:t>
            </a:r>
          </a:p>
          <a:p>
            <a:pPr eaLnBrk="1" hangingPunct="1">
              <a:lnSpc>
                <a:spcPct val="80000"/>
              </a:lnSpc>
            </a:pPr>
            <a:r>
              <a:rPr lang="en-US" sz="800" smtClean="0">
                <a:latin typeface="Arial" charset="0"/>
              </a:rPr>
              <a:t>Vestas Wind Systems A/S is selected for six wind energy projects in India sponsored by Danida, a Danish state-financed aid agency.</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89: From collaboration to sales company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Strong political forces want to strengthen the Danish wind turbine industry through mergers. Vestas chooses to collaborate with Danish Wind Technology (DWT), which subsequently operates as a sales company within Vestas Wind Systems A/S. The purchase bolsters Vestas' production capacity and expertise. Vestas Deutschland GmbH is founded in Germany.</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0: Weight reduction and giant orders</a:t>
            </a:r>
          </a:p>
          <a:p>
            <a:pPr eaLnBrk="1" hangingPunct="1">
              <a:lnSpc>
                <a:spcPct val="80000"/>
              </a:lnSpc>
            </a:pPr>
            <a:r>
              <a:rPr lang="en-US" sz="800" smtClean="0">
                <a:latin typeface="Arial" charset="0"/>
              </a:rPr>
              <a:t>In addition to increasing sales figures, Vestas distinguishes itself with a formidable technical achievement significant to the appearance, performance and price of the turbines – Vestas successfully manufactures a blade for the new V39-500 kW turbine where the weight is reduced from 3,800 kg to 1,100 kg.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0 sees the largest order placed with Vestas for wind turbines to date. 342 V27-225 kW turbines are erected at Sky River northeast of Los Angeles, California.</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1991: Breakthrough year and turbine number 1,000</a:t>
            </a:r>
          </a:p>
          <a:p>
            <a:pPr eaLnBrk="1" hangingPunct="1">
              <a:lnSpc>
                <a:spcPct val="80000"/>
              </a:lnSpc>
            </a:pPr>
            <a:r>
              <a:rPr lang="en-US" sz="800" smtClean="0">
                <a:latin typeface="Arial" charset="0"/>
              </a:rPr>
              <a:t>Vestas' breakthrough year, where sales increase by 35 per cent to DKK 631 million. In November, Vestas 1,000th turbine is erected in Denmark. Vestas Wind Systems A/S becomes the first wind turbine manufacturer to receive ISO 9002 certification. Certification ensures that all production procedures follow a preset plan and that the final product is of a uniform and high quality.</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2: Rule Britannia</a:t>
            </a:r>
          </a:p>
          <a:p>
            <a:pPr eaLnBrk="1" hangingPunct="1">
              <a:lnSpc>
                <a:spcPct val="80000"/>
              </a:lnSpc>
            </a:pPr>
            <a:r>
              <a:rPr lang="en-US" sz="800" smtClean="0">
                <a:latin typeface="Arial" charset="0"/>
              </a:rPr>
              <a:t>In 1992 the UK market shows the greatest expansion of all Vestas markets. A total of 89 Vestas wind turbines with a total capacity of 30 MW are installed in England, of these 23 WD 34-400 kW turbines on Ovenden Moor.</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Vestas Wind Systems A/S expands with subsidiaries Vestasvind Svenska AB in Sweden and Vestas – American Wind Technology, Inc. in the US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3: Political support triples sales</a:t>
            </a:r>
          </a:p>
          <a:p>
            <a:pPr eaLnBrk="1" hangingPunct="1">
              <a:lnSpc>
                <a:spcPct val="80000"/>
              </a:lnSpc>
            </a:pPr>
            <a:r>
              <a:rPr lang="en-US" sz="800" smtClean="0">
                <a:latin typeface="Arial" charset="0"/>
              </a:rPr>
              <a:t>Political support for wind energy in Germany helps Vestas Deutschland GmbH triple its sales. The facilities in Husum are expanded by 750 m2. In Denmark too, the growth means expansion in administration as well as production. Large turbines and large wind turbine parks make it important for Vestas to supply turnkey project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4: Growth and Spanish joint venture</a:t>
            </a:r>
          </a:p>
          <a:p>
            <a:pPr eaLnBrk="1" hangingPunct="1">
              <a:lnSpc>
                <a:spcPct val="80000"/>
              </a:lnSpc>
            </a:pPr>
            <a:r>
              <a:rPr lang="en-US" sz="800" smtClean="0">
                <a:latin typeface="Arial" charset="0"/>
              </a:rPr>
              <a:t>At the end of 1994, Vestas Wind Systems A/S employs 765 people. The growth continues and 1994 becomes yet another record year with a pre-tax profit of DKK 41 million. But Vestas can also feel the increasing competition from other wind turbine manufacturers and notes a slight drop in its market share both in Germany and in the US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development of the V44-600 kW turbine is completed. There are two new exciting features on the turbine: OptiTip®, which minimises the stress on the turbine blades, and OptiSlip® which provides an even electrical output to the network.</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As part of an extensive consolidation, Vestas takes over Voelund Staalteknik A/S in Varde, Denmark.</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Spain, Vestas Wind Systems A/S, in collaboration with the Spanish group Gamesa and development company SODENA, establishes a joint venture company – Gamesa Eolica S.A., with Vestas Wind Systems A/S holding a 40 per cent share. The merger results in an immediate order of six V39-500 kW turbines from electrical company Energia Hidroelectrica de Navarra S.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5: Restructuring and Tunoe Knob</a:t>
            </a:r>
          </a:p>
          <a:p>
            <a:pPr eaLnBrk="1" hangingPunct="1">
              <a:lnSpc>
                <a:spcPct val="80000"/>
              </a:lnSpc>
            </a:pPr>
            <a:r>
              <a:rPr lang="en-US" sz="800" smtClean="0">
                <a:latin typeface="Arial" charset="0"/>
              </a:rPr>
              <a:t>A year with major restructurings within Vestas. In Videbæk, between Herning and Ringkøbing, in Denmark, 15,000 m2 of production and administration facilities are leased to be used as a purchasing, warehouse, assembly, distribution and service centre.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Spain, where Gamesa Eolica S.A. has great successes selling Vestas technology, the local production of towers is established. On the technology front, Vestas erects a 1.5 MW turbine at Tjæreborg. As a new feature, this wind turbine has individual pitch regulation on all three blades, increasing both safety and durability when the blades run at maximum speed.</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really big event – and challenge – for Vestas in 1995 is the construction of the offshore wind turbine farm Tunoe Knob in the Kattegat, southeast of Århus, Denmark. The project is completed in collaboration with I/S Midtkraft which handles the foundations, while Vestas handles the assembly of the wind turbines. After the foundations are laid, Vestas takes over the project and in just five days the 10 units of V39-500 kW wind turbines are in place.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wind turbine industry receives support from an unexpected source when the International Atomic Energy Agency determines that wind power, all things considered, will be fully competitive with both fossil fuels and nuclear energy no later than 2010.</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6: Medal of Honour to Vestas and Spanish fairy tale</a:t>
            </a:r>
          </a:p>
          <a:p>
            <a:pPr eaLnBrk="1" hangingPunct="1">
              <a:lnSpc>
                <a:spcPct val="80000"/>
              </a:lnSpc>
            </a:pPr>
            <a:r>
              <a:rPr lang="en-US" sz="800" smtClean="0">
                <a:latin typeface="Arial" charset="0"/>
              </a:rPr>
              <a:t>Vestas is awarded the King Frederik IX's Medal of Honour for meritable achievements in Danish export.</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China and India are promising new markets with 56 and 63 units of V42-600 kW turbines sold respectively, and Vestas Deutschland GmbH manages to increase Vestas' market share in an otherwise declining market. Spain, the country to show the best results, however. actually does so well it is called “the Spanish fairy tale”. Gamesa Eolica S.A. delivers 130 units of V39-500 kW turbines, and an agreement is reached with Energia Hidroelectrica de Navarra S.A. for delivery of 107 MW before December 2000 – an agreement that Gamesa Eolica S.A. expects to deliver before April 1997.</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7: Largest Danish wind turbine project</a:t>
            </a:r>
          </a:p>
          <a:p>
            <a:pPr eaLnBrk="1" hangingPunct="1">
              <a:lnSpc>
                <a:spcPct val="80000"/>
              </a:lnSpc>
            </a:pPr>
            <a:r>
              <a:rPr lang="en-US" sz="800" smtClean="0">
                <a:latin typeface="Arial" charset="0"/>
              </a:rPr>
              <a:t>With increases in MW sales of 24 per cent - from 303 MW in 1996 to 383 MW in 1997 – there is good reason for optimism at Vestas. Vestas introduces two new types of turbines: The V47-660 kW and the V66-1.65 MW.</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largest wind turbine project to date on Danish soil is completed at Klim Fjordholme in Thy when Vestas, in collaboration with A/S Nordjyllandsværket, erects 35 units of V44-600 kW turbines. The wind farm is to supply electricity to 10,000 household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8: Stock exchange listing and success in Italy</a:t>
            </a:r>
          </a:p>
          <a:p>
            <a:pPr eaLnBrk="1" hangingPunct="1">
              <a:lnSpc>
                <a:spcPct val="80000"/>
              </a:lnSpc>
            </a:pPr>
            <a:r>
              <a:rPr lang="en-US" sz="800" smtClean="0">
                <a:latin typeface="Arial" charset="0"/>
              </a:rPr>
              <a:t>Vestas goes public and its shares start trading on the Copenhagen Stock Exchange. The purpose is to acquire capital for continuing growth in all markets, which, for example, requires new facilities for glass fibre production and assembly. With a share of 22.1 per cent of the world’s wind power (measured in installed MW as of 13 December 1998) Vestas is the industry’s dominant player. Sales increase by 45 per cent and pass DKK 2.8 billion.</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After two years of preparation, Vestas Wind Systems A/S establishes a joint venture in Taranto, Italy in partnership with Wind Energy System Taranto S.p.a. The company ends the year with sales amounting to DKK 258 million, despite the fact that the company is in a startup and training phase.</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1999: New blade factory and sales increase of 131 per cent</a:t>
            </a:r>
          </a:p>
          <a:p>
            <a:pPr eaLnBrk="1" hangingPunct="1">
              <a:lnSpc>
                <a:spcPct val="80000"/>
              </a:lnSpc>
            </a:pPr>
            <a:r>
              <a:rPr lang="en-US" sz="800" smtClean="0">
                <a:latin typeface="Arial" charset="0"/>
              </a:rPr>
              <a:t>The important markets grow and blade production capacity is soon insufficient. Vestas therefore decides in February to build a new blade factory in Nakskov, Denmark, where the access is good for land and sea transport and skilled labour is available. Building begins in the summer and the first 32-metre blades are manufactured in the new facility on schedule in December.</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the autumn Vestas introduces a V80-2.0 MW with Optispeed® that has been specially developed for areas with low wind speed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Vestas takes over the electronics company Cotas Computer Technology A/S in Århus, Denmark. Cotas has been the main supplier of software and components for turbine controls at Vestas for many year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year ends as well as possible for Vestas with sales totalling DKK 4.7 billion. The surplus amounts to DKK 597 million – an increase of 131 per cent compared to the previous year. On 20 December Vestas is listed on the prestigious Copenhagen Stock Exchange Index (KFX) that comprises the 20 most highly traded stocks in Denmark by volume. The demand for wind technology continues, and Vestas is the stock that shows the greatest price increase for the year.</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2000: The largest order to date and a new sales record</a:t>
            </a:r>
          </a:p>
          <a:p>
            <a:pPr eaLnBrk="1" hangingPunct="1">
              <a:lnSpc>
                <a:spcPct val="80000"/>
              </a:lnSpc>
            </a:pPr>
            <a:r>
              <a:rPr lang="en-US" sz="800" smtClean="0">
                <a:latin typeface="Arial" charset="0"/>
              </a:rPr>
              <a:t>The new millennium barely starts before the largest order to date of 1,800 turbines is received by Gamesa Eólica S.A., of which Vestas owns 40 per cent. The client is the Spanish energy company Energía Hidroeléctrica De Navarra, S.A. The total value is in excess of DKK 5 billion.</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May the new 22,000 m2 factory in Nakskov, Denmark, is completed.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Vestas strengthens its position in the Japanese market by signing a new distribution agreement with Vestech Japan Corporation. The agreement is followed up in the autumn with a new order for Japan for 24 turbines of the type V66-1.65 MW for delivery in 2001.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American market shows very positive signs as a result of the extension of the Production Tax Credit. Vestas signs the largest agreement to date in the USA for sales of V47-660 kW turbines to FPL Energy, LLC for delivery in 2000 and 2001. For the U.S. market, the development of a new OptiSlip® version V80 turbine is underway. This new wind turbine is expected to be in serial production in early 2002.</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August, Vestas receives ISO 14001 certification that documents that Vestas has implemented a new environmental management system. The certification includes Vestas' activities for the external environment. Vestas continues to work towards British standard OHSAS 18001 certification for the work environment.</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November, Vestas offers shares to all employees for the second time. More than 80 per cent of eligible employees choose to take up the offer. Similarly, warrants were issued for the first time to the company’s board of directors, executive committee and senior management.</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global market for wind power grows by approximately 4,500 MW of newly installed capacity. Vestas' share, including associated companies, amounts to 1,434 MW corresponding to a market share of 32 per cent. This means that Vestas has supplied approximately 26 per cent of the installed capacity throughout the world, and has therefore reached its goal of 25 per cent, an historical market share.</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Vestas reaches sales of DKK 6.5 billion and pre-tax profit of DKK 866 million, which is a new record. With Earnings Before Interest and Taxes (EBIT) amounting to 10.7 per cent, a financial goal of 9 per cent is reached too.</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At the end of the year the Group has 3,852 employees – an increase of 47 per cent. In addition to this, there are 1,131 employees in associated companies in Spain and Indi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2001: Horns Rev – the world’s largest offshore wind farm</a:t>
            </a:r>
          </a:p>
          <a:p>
            <a:pPr eaLnBrk="1" hangingPunct="1">
              <a:lnSpc>
                <a:spcPct val="80000"/>
              </a:lnSpc>
            </a:pPr>
            <a:r>
              <a:rPr lang="en-US" sz="800" smtClean="0">
                <a:latin typeface="Arial" charset="0"/>
              </a:rPr>
              <a:t>In January, Vestas is selected to be the wind turbine supplier for the first large offshore project in the North Sea, the Horns Rev project west of Esbjerg in Denmark. The project, to be constructed during the summer of 2002, is one of the world’s largest offshore wind farms to date with a capacity of 160 MW. The turbine type chosen is the Vestas V80-2.0 MW and the anticipated order value is projected to be about DKK 1 billion.</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the spring, Vestas also signs its first contracts in Costa Rica and Iran. A number of new markets are also showing positive signs, including France, Portugal and Poland.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first half of 2001 is characterised by a flurry of activity clearly reflected in the interim financial results. Net turnover for the first half of 2001 doubles compared to 2000 and amounts to DKK 4,544 million. Pre-tax results for the first six months increase by 35 per cent to DKK 401 million.</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An important subgoal for the working environment is reached in August 2001 when Vestas is awarded British OHSAS 18001 certification documenting that the working environment management system in the Group’s Danish factories conforms to the standard.</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September Johannes Poulsen announces to the Board that on his 60th birthday and after 15 years as Managing Director of Vestas Wind Systems A/S he wishes to retire at the general meeting on 18 April 2002. The Board appoints Svend Sigaard, the current chief financial officer, as the new managing director of the company effective from the same date. </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December, Vestas Wind Systems A/S sells its 40 per cent holding in Gamesa Eólica S.A. to Sesa Sistemas Electricos S.A., part of the Gamesa Group, for EUR 287 million (ca. DKK 2.1 billion). The reasons behind the sale include strategic differences between Vestas and Gamesa in relation to project development leading to an increasing number of strategic conflicts in the market.</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global market for wind power grows by approximately 51 per cent to 6,824 MW, of which the Vestas Group, including associated companies, has 1,645 MW in sales – double compared to the year before. Vestas achieves a market share of 24.1 per cent and thus an increase of six percentage points compared to 2000.</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Sales amount to DKK 9.52 billion with a surplus before EBIT amounting to DKK 985 million. Pre-tax results amount to DKK 2.85 billion which includes DKK 1.81 billion for the sale of shares in Gamesa Eólica S.A.</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At the end of the year Vestas employs 5,240 people, of which 825 work in foreign subsidiarie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2002: Another record year</a:t>
            </a:r>
          </a:p>
          <a:p>
            <a:pPr eaLnBrk="1" hangingPunct="1">
              <a:lnSpc>
                <a:spcPct val="80000"/>
              </a:lnSpc>
            </a:pPr>
            <a:r>
              <a:rPr lang="en-US" sz="800" smtClean="0">
                <a:latin typeface="Arial" charset="0"/>
              </a:rPr>
              <a:t>A challenging year for Vestas in many ways. Despite a number of problems, it becomes yet another record year for the wind turbine industry and Vestas. The total installations of wind power in the world will amount to approximately 7,000 MW, equal to an increase of approximately three per cent. Vestas sales increase by nine per cent from EUR 1,282 million to EUR 1,395 million.</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American market does not develop as expected in early 2002. Consequently, capacity is reduced in the U.S. and about 1,200 skilled and qualified staff have to switch to part-time work for three month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On 18 April Johannes Poulsen, the Managing Director for 15 years, retires and Svend Sigaard, Chief Financial Officer, takes over his position as the Managing Director of Vesta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In April, Vestas starts installation of 80 units of 2.0 MW offshore wind turbines at Horns Reef in the North Sea off the Danish west coast – the largest contract undertaking in 2002. Many employees make a great effort to ensure that the offshore wind farm gets established according to plan. The good teamwork within the whole Vestas group means that Vestas can erect the 80th and final turbine 11 days earlier than originally planned. At the end of 2002, the establishment of the world’s largest offshore wind farm to date is a reality, and in the future the park will supply electricity to approximately 150,000 Danish household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The valuable experience gained from the Horns Reef project contributes to Vestas being selected as the supplier of wind turbines for several offshore wind farm projects in Europe in 2002. In July, Vestas receives an order for 30 units of V80-2.0 MW offshore wind turbines, which will be the first large offshore wind farm in England. Later in the year, Vestas is selected to be the supplier of offshore wind farms in England and Belgium.</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With the establishment of the Horns Reef offshore wind farm and subsequent orders, Vestas seals its position as the world’s leading producer of offshore wind turbines.</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As in previous years, Vestas ends 2002 with the establishment of new production facilities. A 10,000 m2 factory is opened in the Campbeltown, Scotland. The factory manufactures towers and assembles nacelles. Vestas is thus well prepared to service the growing UK and Irish markets. A 31,500 m2 factory producing blades is opened in Lauchhammer, Germany.</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Vestas erects the first V90-3.0 MW prototype turbines – the next generation in Vestas' product program. These prototypes have to pass a trial period before serial production begins in 2004.</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Due to continuing uncertainty on the American market, the expectations for growth in 2003 are lowered, and Vestas unfortunately is obliged to make 495 employees redundant at the end 2002. Despite this, there is a net staff gain of 759 in 2002.</a:t>
            </a:r>
          </a:p>
          <a:p>
            <a:pPr eaLnBrk="1" hangingPunct="1">
              <a:lnSpc>
                <a:spcPct val="80000"/>
              </a:lnSpc>
            </a:pPr>
            <a:endParaRPr lang="en-US" sz="800" smtClean="0">
              <a:latin typeface="Arial" charset="0"/>
            </a:endParaRPr>
          </a:p>
          <a:p>
            <a:pPr eaLnBrk="1" hangingPunct="1">
              <a:lnSpc>
                <a:spcPct val="80000"/>
              </a:lnSpc>
            </a:pPr>
            <a:r>
              <a:rPr lang="en-US" sz="800" smtClean="0">
                <a:latin typeface="Arial" charset="0"/>
              </a:rPr>
              <a:t>With good market spread, a strong product range, a good order volume both onshore and offshore, as well as highly qualified, motivated staff, Vestas is well prepared for the future. Vestas expects that wind power will become one of the world’s leading energy sources.</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2004: Vestas and NEG Micon merge. </a:t>
            </a:r>
            <a:r>
              <a:rPr lang="en-US" sz="800" smtClean="0">
                <a:latin typeface="Arial" charset="0"/>
              </a:rPr>
              <a:t>The two wind energy giants become the undisputes world leader in the wind power industry.</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2005: Ditlev Engel new CEO of Vestas</a:t>
            </a:r>
            <a:r>
              <a:rPr lang="en-US" sz="800" smtClean="0">
                <a:latin typeface="Arial" charset="0"/>
              </a:rPr>
              <a:t>. </a:t>
            </a:r>
          </a:p>
          <a:p>
            <a:pPr eaLnBrk="1" hangingPunct="1">
              <a:lnSpc>
                <a:spcPct val="80000"/>
              </a:lnSpc>
            </a:pPr>
            <a:endParaRPr lang="en-US" sz="800" smtClean="0">
              <a:latin typeface="Arial" charset="0"/>
            </a:endParaRPr>
          </a:p>
          <a:p>
            <a:pPr eaLnBrk="1" hangingPunct="1">
              <a:lnSpc>
                <a:spcPct val="80000"/>
              </a:lnSpc>
            </a:pPr>
            <a:r>
              <a:rPr lang="en-US" sz="800" b="1" smtClean="0">
                <a:latin typeface="Arial" charset="0"/>
              </a:rPr>
              <a:t>2010: Wind. It means the world to us.</a:t>
            </a:r>
            <a:r>
              <a:rPr lang="en-US" sz="800" smtClean="0">
                <a:latin typeface="Arial" charset="0"/>
              </a:rPr>
              <a:t> (elaborated on slide 14)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E154B89E-0658-499B-8DF4-0597D6DF1589}" type="slidenum">
              <a:rPr lang="en-GB" sz="1200" smtClean="0">
                <a:solidFill>
                  <a:schemeClr val="tx1"/>
                </a:solidFill>
              </a:rPr>
              <a:pPr eaLnBrk="1" hangingPunct="1"/>
              <a:t>4</a:t>
            </a:fld>
            <a:endParaRPr lang="en-GB" sz="1200" smtClean="0">
              <a:solidFill>
                <a:schemeClr val="tx1"/>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GB" smtClean="0">
                <a:latin typeface="Arial" charset="0"/>
              </a:rPr>
              <a:t>These efforts, resulting in rising output, growing revenue and the best human resources in the market manifests itself physically around the globe: </a:t>
            </a:r>
          </a:p>
          <a:p>
            <a:pPr eaLnBrk="1" hangingPunct="1"/>
            <a:r>
              <a:rPr lang="en-US" smtClean="0">
                <a:latin typeface="Arial" charset="0"/>
              </a:rPr>
              <a:t>Vestas installed base is twice as big as the second biggest player in the industry (GE). </a:t>
            </a:r>
            <a:endParaRPr lang="en-GB" smtClean="0">
              <a:latin typeface="Arial" charset="0"/>
            </a:endParaRPr>
          </a:p>
          <a:p>
            <a:pPr eaLnBrk="1" hangingPunct="1"/>
            <a:endParaRPr lang="en-GB" smtClean="0">
              <a:latin typeface="Arial" charset="0"/>
            </a:endParaRPr>
          </a:p>
          <a:p>
            <a:pPr eaLnBrk="1" hangingPunct="1"/>
            <a:r>
              <a:rPr lang="en-GB" smtClean="0">
                <a:latin typeface="Arial" charset="0"/>
              </a:rPr>
              <a:t>A total of </a:t>
            </a:r>
            <a:r>
              <a:rPr lang="da-DK" b="1" smtClean="0">
                <a:latin typeface="Arial" charset="0"/>
              </a:rPr>
              <a:t>46,143 Vestas wind turbines </a:t>
            </a:r>
            <a:r>
              <a:rPr lang="en-GB" smtClean="0">
                <a:latin typeface="Arial" charset="0"/>
              </a:rPr>
              <a:t>has delivered </a:t>
            </a:r>
            <a:r>
              <a:rPr lang="en-GB" b="1" smtClean="0">
                <a:latin typeface="Arial" charset="0"/>
              </a:rPr>
              <a:t>49,332 MW </a:t>
            </a:r>
            <a:r>
              <a:rPr lang="en-GB" smtClean="0">
                <a:latin typeface="Arial" charset="0"/>
              </a:rPr>
              <a:t>as of 31 December 2011.</a:t>
            </a:r>
          </a:p>
          <a:p>
            <a:pPr eaLnBrk="1" hangingPunct="1"/>
            <a:endParaRPr lang="da-DK"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p:spPr>
        <p:txBody>
          <a:bodyPr/>
          <a:lstStyle/>
          <a:p>
            <a:endParaRPr lang="da-DK" smtClean="0">
              <a:latin typeface="Arial" charset="0"/>
            </a:endParaRPr>
          </a:p>
        </p:txBody>
      </p:sp>
      <p:sp>
        <p:nvSpPr>
          <p:cNvPr id="34820" name="Slide Number Placeholder 3"/>
          <p:cNvSpPr>
            <a:spLocks noGrp="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9E915742-F11A-4525-A7C5-95362A10CD9A}" type="slidenum">
              <a:rPr lang="en-GB" sz="1200" smtClean="0">
                <a:solidFill>
                  <a:schemeClr val="tx1"/>
                </a:solidFill>
              </a:rPr>
              <a:pPr eaLnBrk="1" hangingPunct="1"/>
              <a:t>5</a:t>
            </a:fld>
            <a:endParaRPr lang="en-GB" sz="1200" smtClean="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131B75A4-C44C-4629-8947-52DA0F78A699}" type="slidenum">
              <a:rPr lang="en-GB" sz="1200" smtClean="0">
                <a:solidFill>
                  <a:srgbClr val="FFFFFF"/>
                </a:solidFill>
              </a:rPr>
              <a:pPr eaLnBrk="1" hangingPunct="1"/>
              <a:t>6</a:t>
            </a:fld>
            <a:endParaRPr lang="en-GB" sz="1200" smtClean="0">
              <a:solidFill>
                <a:srgbClr val="FFFFFF"/>
              </a:solidFill>
            </a:endParaRPr>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noFill/>
        </p:spPr>
        <p:txBody>
          <a:bodyPr/>
          <a:lstStyle/>
          <a:p>
            <a:endParaRPr lang="da-DK"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endParaRPr lang="da-DK" smtClean="0">
              <a:latin typeface="Arial" charset="0"/>
            </a:endParaRPr>
          </a:p>
        </p:txBody>
      </p:sp>
      <p:sp>
        <p:nvSpPr>
          <p:cNvPr id="43012" name="Slide Number Placeholder 3"/>
          <p:cNvSpPr>
            <a:spLocks noGrp="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BC288FDD-CECB-436B-AF24-00E43CB244F6}" type="slidenum">
              <a:rPr lang="en-GB" sz="1200" smtClean="0">
                <a:solidFill>
                  <a:schemeClr val="tx1"/>
                </a:solidFill>
              </a:rPr>
              <a:pPr eaLnBrk="1" hangingPunct="1"/>
              <a:t>9</a:t>
            </a:fld>
            <a:endParaRPr lang="en-GB" sz="1200" smtClean="0">
              <a:solidFill>
                <a:schemeClr val="tx1"/>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4D6E581-5009-4E09-B9B3-A39C90B45751}" type="slidenum">
              <a:rPr lang="sv-SE"/>
              <a:pPr/>
              <a:t>10</a:t>
            </a:fld>
            <a:endParaRPr lang="sv-SE"/>
          </a:p>
        </p:txBody>
      </p:sp>
      <p:sp>
        <p:nvSpPr>
          <p:cNvPr id="533506" name="Rectangle 2"/>
          <p:cNvSpPr>
            <a:spLocks noGrp="1" noRot="1" noChangeAspect="1" noChangeArrowheads="1" noTextEdit="1"/>
          </p:cNvSpPr>
          <p:nvPr>
            <p:ph type="sldImg"/>
          </p:nvPr>
        </p:nvSpPr>
        <p:spPr>
          <a:ln/>
        </p:spPr>
      </p:sp>
      <p:sp>
        <p:nvSpPr>
          <p:cNvPr id="533507" name="Rectangle 3"/>
          <p:cNvSpPr>
            <a:spLocks noGrp="1" noChangeArrowheads="1"/>
          </p:cNvSpPr>
          <p:nvPr>
            <p:ph type="body" idx="1"/>
          </p:nvPr>
        </p:nvSpPr>
        <p:spPr>
          <a:xfrm>
            <a:off x="934504" y="4417280"/>
            <a:ext cx="5218997" cy="4181890"/>
          </a:xfrm>
        </p:spPr>
        <p:txBody>
          <a:bodyPr/>
          <a:lstStyle/>
          <a:p>
            <a:pPr>
              <a:lnSpc>
                <a:spcPct val="80000"/>
              </a:lnSpc>
            </a:pPr>
            <a:endParaRPr lang="pl-PL" sz="800" b="1"/>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endParaRPr lang="da-DK" smtClean="0">
              <a:latin typeface="Arial" charset="0"/>
            </a:endParaRPr>
          </a:p>
        </p:txBody>
      </p:sp>
      <p:sp>
        <p:nvSpPr>
          <p:cNvPr id="43012" name="Slide Number Placeholder 3"/>
          <p:cNvSpPr>
            <a:spLocks noGrp="1"/>
          </p:cNvSpPr>
          <p:nvPr>
            <p:ph type="sldNum" sz="quarter" idx="5"/>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BC288FDD-CECB-436B-AF24-00E43CB244F6}" type="slidenum">
              <a:rPr lang="en-GB" sz="1200" smtClean="0">
                <a:solidFill>
                  <a:schemeClr val="tx1"/>
                </a:solidFill>
              </a:rPr>
              <a:pPr eaLnBrk="1" hangingPunct="1"/>
              <a:t>15</a:t>
            </a:fld>
            <a:endParaRPr lang="en-GB" sz="1200" smtClean="0">
              <a:solidFill>
                <a:schemeClr val="tx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GB" dirty="0">
              <a:solidFill>
                <a:schemeClr val="hlink"/>
              </a:solidFill>
            </a:endParaRPr>
          </a:p>
          <a:p>
            <a:endParaRPr lang="en-GB" dirty="0" smtClean="0"/>
          </a:p>
        </p:txBody>
      </p:sp>
      <p:sp>
        <p:nvSpPr>
          <p:cNvPr id="4" name="Slide Number Placeholder 3"/>
          <p:cNvSpPr>
            <a:spLocks noGrp="1"/>
          </p:cNvSpPr>
          <p:nvPr>
            <p:ph type="sldNum" sz="quarter" idx="10"/>
          </p:nvPr>
        </p:nvSpPr>
        <p:spPr/>
        <p:txBody>
          <a:bodyPr/>
          <a:lstStyle/>
          <a:p>
            <a:fld id="{474E6662-268B-4D2A-B5E2-9979E205C411}"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34063358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0.xml"/><Relationship Id="rId4" Type="http://schemas.openxmlformats.org/officeDocument/2006/relationships/image" Target="../media/image2.w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2.w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2.xml"/><Relationship Id="rId4" Type="http://schemas.openxmlformats.org/officeDocument/2006/relationships/image" Target="../media/image2.w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3.xml"/><Relationship Id="rId4" Type="http://schemas.openxmlformats.org/officeDocument/2006/relationships/image" Target="../media/image2.w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4.xml"/><Relationship Id="rId4" Type="http://schemas.openxmlformats.org/officeDocument/2006/relationships/image" Target="../media/image2.w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8.xml"/><Relationship Id="rId4" Type="http://schemas.openxmlformats.org/officeDocument/2006/relationships/image" Target="../media/image2.w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9.xml"/><Relationship Id="rId4" Type="http://schemas.openxmlformats.org/officeDocument/2006/relationships/image" Target="../media/image2.w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DDDD862-F1C8-419E-90C9-296490F0E2CB}" type="slidenum">
              <a:rPr lang="en-GB"/>
              <a:pPr>
                <a:defRPr/>
              </a:pPr>
              <a:t>‹#›</a:t>
            </a:fld>
            <a:endParaRPr lang="en-GB"/>
          </a:p>
        </p:txBody>
      </p:sp>
    </p:spTree>
    <p:extLst>
      <p:ext uri="{BB962C8B-B14F-4D97-AF65-F5344CB8AC3E}">
        <p14:creationId xmlns:p14="http://schemas.microsoft.com/office/powerpoint/2010/main" val="2785955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CBA31FE-2617-4883-AC15-31272422D8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45059489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84679BD0-2DDC-48DB-B60D-53AF0405B6D0}" type="slidenum">
              <a:rPr lang="en-US"/>
              <a:pPr>
                <a:defRPr/>
              </a:pPr>
              <a:t>‹#›</a:t>
            </a:fld>
            <a:endParaRPr lang="en-US"/>
          </a:p>
        </p:txBody>
      </p:sp>
    </p:spTree>
    <p:extLst>
      <p:ext uri="{BB962C8B-B14F-4D97-AF65-F5344CB8AC3E}">
        <p14:creationId xmlns:p14="http://schemas.microsoft.com/office/powerpoint/2010/main" val="1674888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4475"/>
            <a:ext cx="217805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4475"/>
            <a:ext cx="638175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C57674C1-78C9-4953-A6A8-A6FF037A11A0}" type="slidenum">
              <a:rPr lang="en-US"/>
              <a:pPr>
                <a:defRPr/>
              </a:pPr>
              <a:t>‹#›</a:t>
            </a:fld>
            <a:endParaRPr lang="en-US"/>
          </a:p>
        </p:txBody>
      </p:sp>
    </p:spTree>
    <p:extLst>
      <p:ext uri="{BB962C8B-B14F-4D97-AF65-F5344CB8AC3E}">
        <p14:creationId xmlns:p14="http://schemas.microsoft.com/office/powerpoint/2010/main" val="40050219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5900" y="244475"/>
            <a:ext cx="8712200" cy="3524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5900" y="641350"/>
            <a:ext cx="8712200" cy="5595938"/>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386994E9-1138-491C-8216-4420BFA8490B}" type="slidenum">
              <a:rPr lang="en-US"/>
              <a:pPr>
                <a:defRPr/>
              </a:pPr>
              <a:t>‹#›</a:t>
            </a:fld>
            <a:endParaRPr lang="en-US"/>
          </a:p>
        </p:txBody>
      </p:sp>
    </p:spTree>
    <p:extLst>
      <p:ext uri="{BB962C8B-B14F-4D97-AF65-F5344CB8AC3E}">
        <p14:creationId xmlns:p14="http://schemas.microsoft.com/office/powerpoint/2010/main" val="41279375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1"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0"/>
          <p:cNvSpPr txBox="1">
            <a:spLocks noChangeArrowheads="1"/>
          </p:cNvSpPr>
          <p:nvPr/>
        </p:nvSpPr>
        <p:spPr bwMode="auto">
          <a:xfrm>
            <a:off x="9288463" y="0"/>
            <a:ext cx="2879725" cy="335280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charset="0"/>
              </a:defRPr>
            </a:lvl1pPr>
            <a:lvl2pPr marL="266700" indent="-87313">
              <a:defRPr>
                <a:solidFill>
                  <a:schemeClr val="tx1"/>
                </a:solidFill>
                <a:latin typeface="Arial" charset="0"/>
              </a:defRPr>
            </a:lvl2pPr>
            <a:lvl3pPr marL="1598613" indent="-342900">
              <a:defRPr>
                <a:solidFill>
                  <a:schemeClr val="tx1"/>
                </a:solidFill>
                <a:latin typeface="Arial" charset="0"/>
              </a:defRPr>
            </a:lvl3pPr>
            <a:lvl4pPr marL="2120900" indent="-342900">
              <a:defRPr>
                <a:solidFill>
                  <a:schemeClr val="tx1"/>
                </a:solidFill>
                <a:latin typeface="Arial" charset="0"/>
              </a:defRPr>
            </a:lvl4pPr>
            <a:lvl5pPr marL="2643188" indent="-342900">
              <a:defRPr>
                <a:solidFill>
                  <a:schemeClr val="tx1"/>
                </a:solidFill>
                <a:latin typeface="Arial" charset="0"/>
              </a:defRPr>
            </a:lvl5pPr>
            <a:lvl6pPr marL="3100388" indent="-342900" fontAlgn="base">
              <a:spcBef>
                <a:spcPct val="0"/>
              </a:spcBef>
              <a:spcAft>
                <a:spcPct val="0"/>
              </a:spcAft>
              <a:defRPr>
                <a:solidFill>
                  <a:schemeClr val="tx1"/>
                </a:solidFill>
                <a:latin typeface="Arial" charset="0"/>
              </a:defRPr>
            </a:lvl6pPr>
            <a:lvl7pPr marL="3557588" indent="-342900" fontAlgn="base">
              <a:spcBef>
                <a:spcPct val="0"/>
              </a:spcBef>
              <a:spcAft>
                <a:spcPct val="0"/>
              </a:spcAft>
              <a:defRPr>
                <a:solidFill>
                  <a:schemeClr val="tx1"/>
                </a:solidFill>
                <a:latin typeface="Arial" charset="0"/>
              </a:defRPr>
            </a:lvl7pPr>
            <a:lvl8pPr marL="4014788" indent="-342900" fontAlgn="base">
              <a:spcBef>
                <a:spcPct val="0"/>
              </a:spcBef>
              <a:spcAft>
                <a:spcPct val="0"/>
              </a:spcAft>
              <a:defRPr>
                <a:solidFill>
                  <a:schemeClr val="tx1"/>
                </a:solidFill>
                <a:latin typeface="Arial" charset="0"/>
              </a:defRPr>
            </a:lvl8pPr>
            <a:lvl9pPr marL="4471988" indent="-342900" fontAlgn="base">
              <a:spcBef>
                <a:spcPct val="0"/>
              </a:spcBef>
              <a:spcAft>
                <a:spcPct val="0"/>
              </a:spcAft>
              <a:defRPr>
                <a:solidFill>
                  <a:schemeClr val="tx1"/>
                </a:solidFill>
                <a:latin typeface="Arial" charset="0"/>
              </a:defRPr>
            </a:lvl9pPr>
          </a:lstStyle>
          <a:p>
            <a:pPr fontAlgn="base">
              <a:spcBef>
                <a:spcPct val="0"/>
              </a:spcBef>
              <a:spcAft>
                <a:spcPct val="0"/>
              </a:spcAft>
              <a:defRPr/>
            </a:pPr>
            <a:r>
              <a:rPr lang="en-GB" sz="1000" b="1" smtClean="0">
                <a:solidFill>
                  <a:srgbClr val="FFFFFF"/>
                </a:solidFill>
                <a:cs typeface="Arial" pitchFamily="34" charset="0"/>
              </a:rPr>
              <a:t>Title slide/end slide image dimensions:</a:t>
            </a:r>
          </a:p>
          <a:p>
            <a:pPr fontAlgn="base">
              <a:spcBef>
                <a:spcPct val="0"/>
              </a:spcBef>
              <a:spcAft>
                <a:spcPct val="0"/>
              </a:spcAft>
              <a:defRPr/>
            </a:pPr>
            <a:r>
              <a:rPr lang="en-GB" sz="1000" smtClean="0">
                <a:solidFill>
                  <a:srgbClr val="FFFFFF"/>
                </a:solidFill>
                <a:cs typeface="Arial" pitchFamily="34" charset="0"/>
              </a:rPr>
              <a:t>Title slide images must always fit this size:</a:t>
            </a:r>
          </a:p>
          <a:p>
            <a:pPr fontAlgn="base">
              <a:spcBef>
                <a:spcPct val="0"/>
              </a:spcBef>
              <a:spcAft>
                <a:spcPct val="0"/>
              </a:spcAft>
              <a:defRPr/>
            </a:pPr>
            <a:r>
              <a:rPr lang="en-GB" sz="1000" smtClean="0">
                <a:solidFill>
                  <a:srgbClr val="FFFFFF"/>
                </a:solidFill>
                <a:cs typeface="Arial" pitchFamily="34" charset="0"/>
              </a:rPr>
              <a:t>Height: 10.6 cm; Width: 25.4 cm</a:t>
            </a:r>
          </a:p>
          <a:p>
            <a:pPr fontAlgn="base">
              <a:spcBef>
                <a:spcPct val="0"/>
              </a:spcBef>
              <a:spcAft>
                <a:spcPct val="0"/>
              </a:spcAft>
              <a:defRPr/>
            </a:pPr>
            <a:endParaRPr lang="en-GB" sz="1000" smtClean="0">
              <a:solidFill>
                <a:srgbClr val="FFFFFF"/>
              </a:solidFill>
              <a:cs typeface="Arial" pitchFamily="34" charset="0"/>
            </a:endParaRPr>
          </a:p>
          <a:p>
            <a:pPr fontAlgn="base">
              <a:spcBef>
                <a:spcPct val="0"/>
              </a:spcBef>
              <a:spcAft>
                <a:spcPct val="0"/>
              </a:spcAft>
              <a:defRPr/>
            </a:pPr>
            <a:r>
              <a:rPr lang="en-GB" sz="1000" smtClean="0">
                <a:solidFill>
                  <a:srgbClr val="FFFFFF"/>
                </a:solidFill>
                <a:cs typeface="Arial" pitchFamily="34" charset="0"/>
              </a:rPr>
              <a:t>Title slide images must always follow this position:</a:t>
            </a:r>
          </a:p>
          <a:p>
            <a:pPr fontAlgn="base">
              <a:spcBef>
                <a:spcPct val="0"/>
              </a:spcBef>
              <a:spcAft>
                <a:spcPct val="0"/>
              </a:spcAft>
              <a:defRPr/>
            </a:pPr>
            <a:r>
              <a:rPr lang="en-GB" sz="1000" smtClean="0">
                <a:solidFill>
                  <a:srgbClr val="FFFFFF"/>
                </a:solidFill>
                <a:cs typeface="Arial" pitchFamily="34" charset="0"/>
              </a:rPr>
              <a:t>Horizontal: 0 cm; Vertical: 0 cm</a:t>
            </a:r>
          </a:p>
          <a:p>
            <a:pPr fontAlgn="base">
              <a:spcBef>
                <a:spcPct val="0"/>
              </a:spcBef>
              <a:spcAft>
                <a:spcPct val="0"/>
              </a:spcAft>
              <a:defRPr/>
            </a:pPr>
            <a:endParaRPr lang="en-GB" sz="1000" smtClean="0">
              <a:solidFill>
                <a:srgbClr val="FFFFFF"/>
              </a:solidFill>
              <a:cs typeface="Arial" pitchFamily="34" charset="0"/>
            </a:endParaRPr>
          </a:p>
          <a:p>
            <a:pPr fontAlgn="base">
              <a:spcBef>
                <a:spcPct val="0"/>
              </a:spcBef>
              <a:spcAft>
                <a:spcPct val="0"/>
              </a:spcAft>
              <a:defRPr/>
            </a:pPr>
            <a:r>
              <a:rPr lang="en-GB" sz="1000" b="1" smtClean="0">
                <a:solidFill>
                  <a:srgbClr val="FFFFFF"/>
                </a:solidFill>
                <a:cs typeface="Arial" pitchFamily="34" charset="0"/>
              </a:rPr>
              <a:t>To change title slide/end slide image:</a:t>
            </a:r>
          </a:p>
          <a:p>
            <a:pPr fontAlgn="base">
              <a:spcBef>
                <a:spcPct val="0"/>
              </a:spcBef>
              <a:spcAft>
                <a:spcPct val="0"/>
              </a:spcAft>
              <a:defRPr/>
            </a:pPr>
            <a:r>
              <a:rPr lang="en-GB" sz="1000" smtClean="0">
                <a:solidFill>
                  <a:srgbClr val="FFFFFF"/>
                </a:solidFill>
                <a:cs typeface="Arial" pitchFamily="34" charset="0"/>
              </a:rPr>
              <a:t>Contact Communication Support</a:t>
            </a:r>
          </a:p>
          <a:p>
            <a:pPr fontAlgn="base">
              <a:spcBef>
                <a:spcPct val="0"/>
              </a:spcBef>
              <a:spcAft>
                <a:spcPct val="0"/>
              </a:spcAft>
              <a:defRPr/>
            </a:pPr>
            <a:endParaRPr lang="en-GB" sz="1000" smtClean="0">
              <a:solidFill>
                <a:srgbClr val="FFFFFF"/>
              </a:solidFill>
              <a:cs typeface="Arial" pitchFamily="34" charset="0"/>
            </a:endParaRPr>
          </a:p>
          <a:p>
            <a:pPr fontAlgn="base">
              <a:spcBef>
                <a:spcPct val="0"/>
              </a:spcBef>
              <a:spcAft>
                <a:spcPct val="0"/>
              </a:spcAft>
              <a:defRPr/>
            </a:pPr>
            <a:r>
              <a:rPr lang="en-GB" sz="1000" b="1" smtClean="0">
                <a:solidFill>
                  <a:srgbClr val="FFFFFF"/>
                </a:solidFill>
                <a:cs typeface="Arial" pitchFamily="34" charset="0"/>
              </a:rPr>
              <a:t>Tip:</a:t>
            </a:r>
          </a:p>
          <a:p>
            <a:pPr fontAlgn="base">
              <a:spcBef>
                <a:spcPct val="0"/>
              </a:spcBef>
              <a:spcAft>
                <a:spcPct val="0"/>
              </a:spcAft>
              <a:defRPr/>
            </a:pPr>
            <a:r>
              <a:rPr lang="en-GB" sz="1000" smtClean="0">
                <a:solidFill>
                  <a:srgbClr val="FFFFFF"/>
                </a:solidFill>
                <a:cs typeface="Arial" pitchFamily="34" charset="0"/>
              </a:rPr>
              <a:t>Vestas drawing guides will help you position and crop images and objects. Images and objects will snap to drawing guides when repositioned or cropped.</a:t>
            </a:r>
          </a:p>
          <a:p>
            <a:pPr fontAlgn="base">
              <a:spcBef>
                <a:spcPct val="0"/>
              </a:spcBef>
              <a:spcAft>
                <a:spcPct val="0"/>
              </a:spcAft>
              <a:defRPr/>
            </a:pPr>
            <a:endParaRPr lang="en-GB" sz="1000" smtClean="0">
              <a:solidFill>
                <a:srgbClr val="FFFFFF"/>
              </a:solidFill>
              <a:cs typeface="Arial" pitchFamily="34" charset="0"/>
            </a:endParaRPr>
          </a:p>
          <a:p>
            <a:pPr fontAlgn="base">
              <a:spcBef>
                <a:spcPct val="0"/>
              </a:spcBef>
              <a:spcAft>
                <a:spcPct val="0"/>
              </a:spcAft>
              <a:defRPr/>
            </a:pPr>
            <a:r>
              <a:rPr lang="en-GB" sz="1000" b="1" smtClean="0">
                <a:solidFill>
                  <a:srgbClr val="FFFFFF"/>
                </a:solidFill>
                <a:cs typeface="Arial" pitchFamily="34" charset="0"/>
              </a:rPr>
              <a:t>To add drawing guides:</a:t>
            </a:r>
          </a:p>
          <a:p>
            <a:pPr lvl="1" fontAlgn="base">
              <a:spcBef>
                <a:spcPct val="0"/>
              </a:spcBef>
              <a:spcAft>
                <a:spcPct val="0"/>
              </a:spcAft>
              <a:buFont typeface="Arial" charset="0"/>
              <a:buChar char="•"/>
              <a:defRPr/>
            </a:pPr>
            <a:r>
              <a:rPr lang="en-GB" sz="1000" smtClean="0">
                <a:solidFill>
                  <a:srgbClr val="FFFFFF"/>
                </a:solidFill>
                <a:cs typeface="Arial" pitchFamily="34" charset="0"/>
              </a:rPr>
              <a:t>Right-click on next to slide</a:t>
            </a:r>
          </a:p>
          <a:p>
            <a:pPr lvl="1" fontAlgn="base">
              <a:spcBef>
                <a:spcPct val="0"/>
              </a:spcBef>
              <a:spcAft>
                <a:spcPct val="0"/>
              </a:spcAft>
              <a:buFont typeface="Arial" charset="0"/>
              <a:buChar char="•"/>
              <a:defRPr/>
            </a:pPr>
            <a:r>
              <a:rPr lang="en-GB" sz="1000" smtClean="0">
                <a:solidFill>
                  <a:srgbClr val="FFFFFF"/>
                </a:solidFill>
                <a:cs typeface="Arial" pitchFamily="34" charset="0"/>
              </a:rPr>
              <a:t>Select ‘Grid and Guides…’</a:t>
            </a:r>
          </a:p>
          <a:p>
            <a:pPr lvl="1" fontAlgn="base">
              <a:spcBef>
                <a:spcPct val="0"/>
              </a:spcBef>
              <a:spcAft>
                <a:spcPct val="0"/>
              </a:spcAft>
              <a:buFont typeface="Arial" charset="0"/>
              <a:buChar char="•"/>
              <a:defRPr/>
            </a:pPr>
            <a:r>
              <a:rPr lang="en-GB" sz="1000" smtClean="0">
                <a:solidFill>
                  <a:srgbClr val="FFFFFF"/>
                </a:solidFill>
                <a:cs typeface="Arial" pitchFamily="34" charset="0"/>
              </a:rPr>
              <a:t>Check ‘Display drawing guides on screen’</a:t>
            </a:r>
          </a:p>
          <a:p>
            <a:pPr lvl="1" fontAlgn="base">
              <a:spcBef>
                <a:spcPct val="0"/>
              </a:spcBef>
              <a:spcAft>
                <a:spcPct val="0"/>
              </a:spcAft>
              <a:buFont typeface="Arial" charset="0"/>
              <a:buChar char="•"/>
              <a:defRPr/>
            </a:pPr>
            <a:r>
              <a:rPr lang="en-GB" sz="1000" smtClean="0">
                <a:solidFill>
                  <a:srgbClr val="FFFFFF"/>
                </a:solidFill>
                <a:cs typeface="Arial" pitchFamily="34" charset="0"/>
              </a:rPr>
              <a:t>Press ‘OK’ </a:t>
            </a:r>
          </a:p>
          <a:p>
            <a:pPr fontAlgn="base">
              <a:spcBef>
                <a:spcPct val="0"/>
              </a:spcBef>
              <a:spcAft>
                <a:spcPct val="0"/>
              </a:spcAft>
              <a:buFontTx/>
              <a:buAutoNum type="arabicPeriod"/>
              <a:defRPr/>
            </a:pPr>
            <a:endParaRPr lang="en-GB" sz="1000" smtClean="0">
              <a:solidFill>
                <a:srgbClr val="FFFFFF"/>
              </a:solidFill>
              <a:cs typeface="Arial" pitchFamily="34" charset="0"/>
            </a:endParaRPr>
          </a:p>
        </p:txBody>
      </p:sp>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8" name="Rectangle 36"/>
          <p:cNvSpPr>
            <a:spLocks noGrp="1" noChangeArrowheads="1"/>
          </p:cNvSpPr>
          <p:nvPr>
            <p:ph type="dt" sz="half" idx="10"/>
          </p:nvPr>
        </p:nvSpPr>
        <p:spPr>
          <a:xfrm>
            <a:off x="647700" y="6619875"/>
            <a:ext cx="2159000" cy="144463"/>
          </a:xfrm>
        </p:spPr>
        <p:txBody>
          <a:bodyPr/>
          <a:lstStyle>
            <a:lvl1pPr>
              <a:defRPr>
                <a:cs typeface="Arial" charset="0"/>
              </a:defRPr>
            </a:lvl1pPr>
          </a:lstStyle>
          <a:p>
            <a:pPr>
              <a:defRPr/>
            </a:pPr>
            <a:endParaRPr lang="en-GB"/>
          </a:p>
        </p:txBody>
      </p:sp>
      <p:sp>
        <p:nvSpPr>
          <p:cNvPr id="9" name="Rectangle 37"/>
          <p:cNvSpPr>
            <a:spLocks noGrp="1" noChangeArrowheads="1"/>
          </p:cNvSpPr>
          <p:nvPr>
            <p:ph type="ftr" sz="quarter" idx="11"/>
          </p:nvPr>
        </p:nvSpPr>
        <p:spPr bwMode="auto">
          <a:xfrm>
            <a:off x="827088" y="6484938"/>
            <a:ext cx="7885112" cy="14446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FFFFFF"/>
                </a:solidFill>
                <a:latin typeface="Arial" charset="0"/>
                <a:cs typeface="+mn-cs"/>
              </a:defRPr>
            </a:lvl1pPr>
          </a:lstStyle>
          <a:p>
            <a:pPr fontAlgn="base">
              <a:spcBef>
                <a:spcPct val="0"/>
              </a:spcBef>
              <a:spcAft>
                <a:spcPct val="0"/>
              </a:spcAft>
              <a:defRPr/>
            </a:pPr>
            <a:r>
              <a:rPr lang="en-GB"/>
              <a:t>Name of presentation</a:t>
            </a:r>
          </a:p>
        </p:txBody>
      </p:sp>
      <p:sp>
        <p:nvSpPr>
          <p:cNvPr id="10" name="Rectangle 38"/>
          <p:cNvSpPr>
            <a:spLocks noGrp="1" noChangeArrowheads="1"/>
          </p:cNvSpPr>
          <p:nvPr>
            <p:ph type="sldNum" sz="quarter" idx="12"/>
          </p:nvPr>
        </p:nvSpPr>
        <p:spPr>
          <a:xfrm>
            <a:off x="647700" y="6484938"/>
            <a:ext cx="287338" cy="144462"/>
          </a:xfrm>
        </p:spPr>
        <p:txBody>
          <a:bodyPr/>
          <a:lstStyle>
            <a:lvl1pPr>
              <a:defRPr>
                <a:solidFill>
                  <a:srgbClr val="FFFFFF"/>
                </a:solidFill>
                <a:cs typeface="Arial" charset="0"/>
              </a:defRPr>
            </a:lvl1pPr>
          </a:lstStyle>
          <a:p>
            <a:pPr>
              <a:defRPr/>
            </a:pPr>
            <a:fld id="{AB0176AA-AAD5-4401-AB41-4FAE0E82FF3A}" type="slidenum">
              <a:rPr lang="en-GB"/>
              <a:pPr>
                <a:defRPr/>
              </a:pPr>
              <a:t>‹#›</a:t>
            </a:fld>
            <a:endParaRPr lang="en-GB"/>
          </a:p>
        </p:txBody>
      </p:sp>
    </p:spTree>
    <p:extLst>
      <p:ext uri="{BB962C8B-B14F-4D97-AF65-F5344CB8AC3E}">
        <p14:creationId xmlns:p14="http://schemas.microsoft.com/office/powerpoint/2010/main" val="302990827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5" name="Rectangle 6"/>
          <p:cNvSpPr>
            <a:spLocks noGrp="1" noChangeArrowheads="1"/>
          </p:cNvSpPr>
          <p:nvPr>
            <p:ph type="sldNum" sz="quarter" idx="11"/>
          </p:nvPr>
        </p:nvSpPr>
        <p:spPr/>
        <p:txBody>
          <a:bodyPr/>
          <a:lstStyle>
            <a:lvl1pPr>
              <a:defRPr>
                <a:cs typeface="Arial" charset="0"/>
              </a:defRPr>
            </a:lvl1pPr>
          </a:lstStyle>
          <a:p>
            <a:pPr>
              <a:defRPr/>
            </a:pPr>
            <a:fld id="{F48513FB-30A3-41A7-8F58-2C414F614941}" type="slidenum">
              <a:rPr lang="en-GB"/>
              <a:pPr>
                <a:defRPr/>
              </a:pPr>
              <a:t>‹#›</a:t>
            </a:fld>
            <a:endParaRPr lang="en-GB"/>
          </a:p>
        </p:txBody>
      </p:sp>
    </p:spTree>
    <p:extLst>
      <p:ext uri="{BB962C8B-B14F-4D97-AF65-F5344CB8AC3E}">
        <p14:creationId xmlns:p14="http://schemas.microsoft.com/office/powerpoint/2010/main" val="1091787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5" name="Rectangle 6"/>
          <p:cNvSpPr>
            <a:spLocks noGrp="1" noChangeArrowheads="1"/>
          </p:cNvSpPr>
          <p:nvPr>
            <p:ph type="sldNum" sz="quarter" idx="11"/>
          </p:nvPr>
        </p:nvSpPr>
        <p:spPr/>
        <p:txBody>
          <a:bodyPr/>
          <a:lstStyle>
            <a:lvl1pPr>
              <a:defRPr>
                <a:cs typeface="Arial" charset="0"/>
              </a:defRPr>
            </a:lvl1pPr>
          </a:lstStyle>
          <a:p>
            <a:pPr>
              <a:defRPr/>
            </a:pPr>
            <a:fld id="{B78BF790-3959-473E-A1E8-EF955C658CC2}" type="slidenum">
              <a:rPr lang="en-GB"/>
              <a:pPr>
                <a:defRPr/>
              </a:pPr>
              <a:t>‹#›</a:t>
            </a:fld>
            <a:endParaRPr lang="en-GB"/>
          </a:p>
        </p:txBody>
      </p:sp>
    </p:spTree>
    <p:extLst>
      <p:ext uri="{BB962C8B-B14F-4D97-AF65-F5344CB8AC3E}">
        <p14:creationId xmlns:p14="http://schemas.microsoft.com/office/powerpoint/2010/main" val="20187724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6" name="Rectangle 6"/>
          <p:cNvSpPr>
            <a:spLocks noGrp="1" noChangeArrowheads="1"/>
          </p:cNvSpPr>
          <p:nvPr>
            <p:ph type="sldNum" sz="quarter" idx="11"/>
          </p:nvPr>
        </p:nvSpPr>
        <p:spPr/>
        <p:txBody>
          <a:bodyPr/>
          <a:lstStyle>
            <a:lvl1pPr>
              <a:defRPr>
                <a:cs typeface="Arial" charset="0"/>
              </a:defRPr>
            </a:lvl1pPr>
          </a:lstStyle>
          <a:p>
            <a:pPr>
              <a:defRPr/>
            </a:pPr>
            <a:fld id="{1C3E5942-A458-4555-BF05-9F83DD6D9244}" type="slidenum">
              <a:rPr lang="en-GB"/>
              <a:pPr>
                <a:defRPr/>
              </a:pPr>
              <a:t>‹#›</a:t>
            </a:fld>
            <a:endParaRPr lang="en-GB"/>
          </a:p>
        </p:txBody>
      </p:sp>
    </p:spTree>
    <p:extLst>
      <p:ext uri="{BB962C8B-B14F-4D97-AF65-F5344CB8AC3E}">
        <p14:creationId xmlns:p14="http://schemas.microsoft.com/office/powerpoint/2010/main" val="36323281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8" name="Rectangle 6"/>
          <p:cNvSpPr>
            <a:spLocks noGrp="1" noChangeArrowheads="1"/>
          </p:cNvSpPr>
          <p:nvPr>
            <p:ph type="sldNum" sz="quarter" idx="11"/>
          </p:nvPr>
        </p:nvSpPr>
        <p:spPr/>
        <p:txBody>
          <a:bodyPr/>
          <a:lstStyle>
            <a:lvl1pPr>
              <a:defRPr>
                <a:cs typeface="Arial" charset="0"/>
              </a:defRPr>
            </a:lvl1pPr>
          </a:lstStyle>
          <a:p>
            <a:pPr>
              <a:defRPr/>
            </a:pPr>
            <a:fld id="{BE6C3DBF-2583-45A2-AF3F-8CCDAD703503}" type="slidenum">
              <a:rPr lang="en-GB"/>
              <a:pPr>
                <a:defRPr/>
              </a:pPr>
              <a:t>‹#›</a:t>
            </a:fld>
            <a:endParaRPr lang="en-GB"/>
          </a:p>
        </p:txBody>
      </p:sp>
    </p:spTree>
    <p:extLst>
      <p:ext uri="{BB962C8B-B14F-4D97-AF65-F5344CB8AC3E}">
        <p14:creationId xmlns:p14="http://schemas.microsoft.com/office/powerpoint/2010/main" val="5395305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4" name="Rectangle 6"/>
          <p:cNvSpPr>
            <a:spLocks noGrp="1" noChangeArrowheads="1"/>
          </p:cNvSpPr>
          <p:nvPr>
            <p:ph type="sldNum" sz="quarter" idx="11"/>
          </p:nvPr>
        </p:nvSpPr>
        <p:spPr/>
        <p:txBody>
          <a:bodyPr/>
          <a:lstStyle>
            <a:lvl1pPr>
              <a:defRPr>
                <a:cs typeface="Arial" charset="0"/>
              </a:defRPr>
            </a:lvl1pPr>
          </a:lstStyle>
          <a:p>
            <a:pPr>
              <a:defRPr/>
            </a:pPr>
            <a:fld id="{E49BCA76-1A16-48E8-ABC1-D9437E51B591}" type="slidenum">
              <a:rPr lang="en-GB"/>
              <a:pPr>
                <a:defRPr/>
              </a:pPr>
              <a:t>‹#›</a:t>
            </a:fld>
            <a:endParaRPr lang="en-GB"/>
          </a:p>
        </p:txBody>
      </p:sp>
    </p:spTree>
    <p:extLst>
      <p:ext uri="{BB962C8B-B14F-4D97-AF65-F5344CB8AC3E}">
        <p14:creationId xmlns:p14="http://schemas.microsoft.com/office/powerpoint/2010/main" val="12525681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3" name="Rectangle 6"/>
          <p:cNvSpPr>
            <a:spLocks noGrp="1" noChangeArrowheads="1"/>
          </p:cNvSpPr>
          <p:nvPr>
            <p:ph type="sldNum" sz="quarter" idx="11"/>
          </p:nvPr>
        </p:nvSpPr>
        <p:spPr/>
        <p:txBody>
          <a:bodyPr/>
          <a:lstStyle>
            <a:lvl1pPr>
              <a:defRPr>
                <a:cs typeface="Arial" charset="0"/>
              </a:defRPr>
            </a:lvl1pPr>
          </a:lstStyle>
          <a:p>
            <a:pPr>
              <a:defRPr/>
            </a:pPr>
            <a:fld id="{5A37BBF5-46D3-4E78-8CEC-CD0704851AA3}" type="slidenum">
              <a:rPr lang="en-GB"/>
              <a:pPr>
                <a:defRPr/>
              </a:pPr>
              <a:t>‹#›</a:t>
            </a:fld>
            <a:endParaRPr lang="en-GB"/>
          </a:p>
        </p:txBody>
      </p:sp>
    </p:spTree>
    <p:extLst>
      <p:ext uri="{BB962C8B-B14F-4D97-AF65-F5344CB8AC3E}">
        <p14:creationId xmlns:p14="http://schemas.microsoft.com/office/powerpoint/2010/main" val="3793176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92E2B944-5C4B-4D11-A88A-80D926FCEA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412342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6" name="Rectangle 6"/>
          <p:cNvSpPr>
            <a:spLocks noGrp="1" noChangeArrowheads="1"/>
          </p:cNvSpPr>
          <p:nvPr>
            <p:ph type="sldNum" sz="quarter" idx="11"/>
          </p:nvPr>
        </p:nvSpPr>
        <p:spPr/>
        <p:txBody>
          <a:bodyPr/>
          <a:lstStyle>
            <a:lvl1pPr>
              <a:defRPr>
                <a:cs typeface="Arial" charset="0"/>
              </a:defRPr>
            </a:lvl1pPr>
          </a:lstStyle>
          <a:p>
            <a:pPr>
              <a:defRPr/>
            </a:pPr>
            <a:fld id="{341EFE90-4B57-48F0-B91F-FAFC2EA5BA78}" type="slidenum">
              <a:rPr lang="en-GB"/>
              <a:pPr>
                <a:defRPr/>
              </a:pPr>
              <a:t>‹#›</a:t>
            </a:fld>
            <a:endParaRPr lang="en-GB"/>
          </a:p>
        </p:txBody>
      </p:sp>
    </p:spTree>
    <p:extLst>
      <p:ext uri="{BB962C8B-B14F-4D97-AF65-F5344CB8AC3E}">
        <p14:creationId xmlns:p14="http://schemas.microsoft.com/office/powerpoint/2010/main" val="36375935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6" name="Rectangle 6"/>
          <p:cNvSpPr>
            <a:spLocks noGrp="1" noChangeArrowheads="1"/>
          </p:cNvSpPr>
          <p:nvPr>
            <p:ph type="sldNum" sz="quarter" idx="11"/>
          </p:nvPr>
        </p:nvSpPr>
        <p:spPr/>
        <p:txBody>
          <a:bodyPr/>
          <a:lstStyle>
            <a:lvl1pPr>
              <a:defRPr>
                <a:cs typeface="Arial" charset="0"/>
              </a:defRPr>
            </a:lvl1pPr>
          </a:lstStyle>
          <a:p>
            <a:pPr>
              <a:defRPr/>
            </a:pPr>
            <a:fld id="{985498DD-267C-48F5-97EC-532228A10761}" type="slidenum">
              <a:rPr lang="en-GB"/>
              <a:pPr>
                <a:defRPr/>
              </a:pPr>
              <a:t>‹#›</a:t>
            </a:fld>
            <a:endParaRPr lang="en-GB"/>
          </a:p>
        </p:txBody>
      </p:sp>
    </p:spTree>
    <p:extLst>
      <p:ext uri="{BB962C8B-B14F-4D97-AF65-F5344CB8AC3E}">
        <p14:creationId xmlns:p14="http://schemas.microsoft.com/office/powerpoint/2010/main" val="247866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5" name="Rectangle 6"/>
          <p:cNvSpPr>
            <a:spLocks noGrp="1" noChangeArrowheads="1"/>
          </p:cNvSpPr>
          <p:nvPr>
            <p:ph type="sldNum" sz="quarter" idx="11"/>
          </p:nvPr>
        </p:nvSpPr>
        <p:spPr/>
        <p:txBody>
          <a:bodyPr/>
          <a:lstStyle>
            <a:lvl1pPr>
              <a:defRPr>
                <a:cs typeface="Arial" charset="0"/>
              </a:defRPr>
            </a:lvl1pPr>
          </a:lstStyle>
          <a:p>
            <a:pPr>
              <a:defRPr/>
            </a:pPr>
            <a:fld id="{7F78DE30-A520-4902-BB98-9E689EBE48FF}" type="slidenum">
              <a:rPr lang="en-GB"/>
              <a:pPr>
                <a:defRPr/>
              </a:pPr>
              <a:t>‹#›</a:t>
            </a:fld>
            <a:endParaRPr lang="en-GB"/>
          </a:p>
        </p:txBody>
      </p:sp>
    </p:spTree>
    <p:extLst>
      <p:ext uri="{BB962C8B-B14F-4D97-AF65-F5344CB8AC3E}">
        <p14:creationId xmlns:p14="http://schemas.microsoft.com/office/powerpoint/2010/main" val="15160212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a:cs typeface="Arial" charset="0"/>
              </a:defRPr>
            </a:lvl1pPr>
          </a:lstStyle>
          <a:p>
            <a:pPr>
              <a:defRPr/>
            </a:pPr>
            <a:endParaRPr lang="en-GB"/>
          </a:p>
        </p:txBody>
      </p:sp>
      <p:sp>
        <p:nvSpPr>
          <p:cNvPr id="5" name="Rectangle 6"/>
          <p:cNvSpPr>
            <a:spLocks noGrp="1" noChangeArrowheads="1"/>
          </p:cNvSpPr>
          <p:nvPr>
            <p:ph type="sldNum" sz="quarter" idx="11"/>
          </p:nvPr>
        </p:nvSpPr>
        <p:spPr/>
        <p:txBody>
          <a:bodyPr/>
          <a:lstStyle>
            <a:lvl1pPr>
              <a:defRPr>
                <a:cs typeface="Arial" charset="0"/>
              </a:defRPr>
            </a:lvl1pPr>
          </a:lstStyle>
          <a:p>
            <a:pPr>
              <a:defRPr/>
            </a:pPr>
            <a:fld id="{07EBD5A4-7912-4018-B9A2-F5D2D066F4AF}" type="slidenum">
              <a:rPr lang="en-GB"/>
              <a:pPr>
                <a:defRPr/>
              </a:pPr>
              <a:t>‹#›</a:t>
            </a:fld>
            <a:endParaRPr lang="en-GB"/>
          </a:p>
        </p:txBody>
      </p:sp>
    </p:spTree>
    <p:extLst>
      <p:ext uri="{BB962C8B-B14F-4D97-AF65-F5344CB8AC3E}">
        <p14:creationId xmlns:p14="http://schemas.microsoft.com/office/powerpoint/2010/main" val="20826585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0"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6088"/>
            <a:ext cx="8064500" cy="428625"/>
          </a:xfrm>
        </p:spPr>
        <p:txBody>
          <a:bodyPr/>
          <a:lstStyle>
            <a:lvl1pPr>
              <a:defRPr sz="2600"/>
            </a:lvl1pPr>
          </a:lstStyle>
          <a:p>
            <a:pPr lvl="0"/>
            <a:r>
              <a:rPr lang="en-US"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US" noProof="0" smtClean="0"/>
              <a:t>Click to edit Master subtitle style</a:t>
            </a:r>
          </a:p>
        </p:txBody>
      </p:sp>
      <p:sp>
        <p:nvSpPr>
          <p:cNvPr id="7"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US"/>
          </a:p>
        </p:txBody>
      </p:sp>
      <p:sp>
        <p:nvSpPr>
          <p:cNvPr id="8"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US"/>
              <a:t>Name of presentation</a:t>
            </a:r>
          </a:p>
        </p:txBody>
      </p:sp>
      <p:sp>
        <p:nvSpPr>
          <p:cNvPr id="9"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7CF69A0-AB16-4DB6-9216-01557C670935}" type="slidenum">
              <a:rPr lang="en-US"/>
              <a:pPr>
                <a:defRPr/>
              </a:pPr>
              <a:t>‹#›</a:t>
            </a:fld>
            <a:endParaRPr lang="en-US"/>
          </a:p>
        </p:txBody>
      </p:sp>
    </p:spTree>
    <p:extLst>
      <p:ext uri="{BB962C8B-B14F-4D97-AF65-F5344CB8AC3E}">
        <p14:creationId xmlns:p14="http://schemas.microsoft.com/office/powerpoint/2010/main" val="41808036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6BBBF736-042C-465D-9D4B-B2F4867F273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763490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9798336-600C-4A66-823C-C9D778CE26F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61581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9B56D880-B71B-42AC-ADC1-55D53E3A85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473606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8047ADF2-F77E-4E8B-B57E-D1CE2F50DE2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744808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771FF633-C60A-4401-872D-E255D0917BE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164409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3" name="Content Placeholder 2"/>
          <p:cNvSpPr>
            <a:spLocks noGrp="1"/>
          </p:cNvSpPr>
          <p:nvPr>
            <p:ph idx="1"/>
          </p:nvPr>
        </p:nvSpPr>
        <p:spPr>
          <a:xfrm>
            <a:off x="216000" y="1029600"/>
            <a:ext cx="8712000" cy="5209200"/>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
        <p:nvSpPr>
          <p:cNvPr id="4" name="Date Placeholder 3"/>
          <p:cNvSpPr>
            <a:spLocks noGrp="1"/>
          </p:cNvSpPr>
          <p:nvPr>
            <p:ph type="dt" sz="half" idx="10"/>
          </p:nvPr>
        </p:nvSpPr>
        <p:spPr/>
        <p:txBody>
          <a:bodyPr/>
          <a:lstStyle/>
          <a:p>
            <a:fld id="{49D72A6E-1FE9-4E2D-8CAE-147C68612B17}" type="datetime1">
              <a:rPr lang="en-GB" smtClean="0">
                <a:solidFill>
                  <a:prstClr val="black"/>
                </a:solidFill>
              </a:rPr>
              <a:pPr/>
              <a:t>06/11/2012</a:t>
            </a:fld>
            <a:endParaRPr lang="en-GB">
              <a:solidFill>
                <a:prstClr val="black"/>
              </a:solidFill>
            </a:endParaRPr>
          </a:p>
        </p:txBody>
      </p:sp>
      <p:sp>
        <p:nvSpPr>
          <p:cNvPr id="5" name="Footer Placeholder 4"/>
          <p:cNvSpPr>
            <a:spLocks noGrp="1"/>
          </p:cNvSpPr>
          <p:nvPr>
            <p:ph type="ftr" sz="quarter" idx="11"/>
          </p:nvPr>
        </p:nvSpPr>
        <p:spPr/>
        <p:txBody>
          <a:bodyPr/>
          <a:lstStyle/>
          <a:p>
            <a:r>
              <a:rPr lang="en-GB" smtClean="0">
                <a:solidFill>
                  <a:prstClr val="black"/>
                </a:solidFill>
              </a:rPr>
              <a:t>Vestas Northern Europe, March, 2012</a:t>
            </a:r>
            <a:endParaRPr lang="en-GB">
              <a:solidFill>
                <a:prstClr val="black"/>
              </a:solidFill>
            </a:endParaRPr>
          </a:p>
        </p:txBody>
      </p:sp>
      <p:sp>
        <p:nvSpPr>
          <p:cNvPr id="6" name="Slide Number Placeholder 5"/>
          <p:cNvSpPr>
            <a:spLocks noGrp="1"/>
          </p:cNvSpPr>
          <p:nvPr>
            <p:ph type="sldNum" sz="quarter" idx="12"/>
          </p:nvPr>
        </p:nvSpPr>
        <p:spPr/>
        <p:txBody>
          <a:bodyPr/>
          <a:lstStyle/>
          <a:p>
            <a:fld id="{82B41C41-547D-4F85-9A8D-EE57C28F5B01}" type="slidenum">
              <a:rPr lang="en-GB" smtClean="0">
                <a:solidFill>
                  <a:prstClr val="black"/>
                </a:solidFill>
              </a:rPr>
              <a:pPr/>
              <a:t>‹#›</a:t>
            </a:fld>
            <a:endParaRPr lang="en-GB">
              <a:solidFill>
                <a:prstClr val="black"/>
              </a:solidFill>
            </a:endParaRPr>
          </a:p>
        </p:txBody>
      </p:sp>
      <p:sp>
        <p:nvSpPr>
          <p:cNvPr id="8" name="Text Placeholder 7"/>
          <p:cNvSpPr>
            <a:spLocks noGrp="1"/>
          </p:cNvSpPr>
          <p:nvPr>
            <p:ph type="body" sz="quarter" idx="13"/>
          </p:nvPr>
        </p:nvSpPr>
        <p:spPr>
          <a:xfrm>
            <a:off x="216000" y="662400"/>
            <a:ext cx="8064000" cy="367200"/>
          </a:xfrm>
        </p:spPr>
        <p:txBody>
          <a:bodyPr/>
          <a:lstStyle>
            <a:lvl1pPr indent="0">
              <a:lnSpc>
                <a:spcPts val="1900"/>
              </a:lnSpc>
              <a:spcBef>
                <a:spcPts val="960"/>
              </a:spcBef>
              <a:defRPr sz="1600">
                <a:solidFill>
                  <a:schemeClr val="accent1"/>
                </a:solidFill>
              </a:defRPr>
            </a:lvl1pPr>
            <a:lvl2pPr indent="0">
              <a:lnSpc>
                <a:spcPts val="1900"/>
              </a:lnSpc>
              <a:spcBef>
                <a:spcPts val="960"/>
              </a:spcBef>
              <a:defRPr>
                <a:solidFill>
                  <a:schemeClr val="accent1"/>
                </a:solidFill>
              </a:defRPr>
            </a:lvl2pPr>
            <a:lvl3pPr indent="0">
              <a:lnSpc>
                <a:spcPts val="1900"/>
              </a:lnSpc>
              <a:spcBef>
                <a:spcPts val="960"/>
              </a:spcBef>
              <a:defRPr>
                <a:solidFill>
                  <a:schemeClr val="accent1"/>
                </a:solidFill>
              </a:defRPr>
            </a:lvl3pPr>
            <a:lvl4pPr indent="0">
              <a:lnSpc>
                <a:spcPts val="1900"/>
              </a:lnSpc>
              <a:spcBef>
                <a:spcPts val="960"/>
              </a:spcBef>
              <a:defRPr>
                <a:solidFill>
                  <a:schemeClr val="accent1"/>
                </a:solidFill>
              </a:defRPr>
            </a:lvl4pPr>
            <a:lvl5pPr indent="0">
              <a:lnSpc>
                <a:spcPts val="1900"/>
              </a:lnSpc>
              <a:spcBef>
                <a:spcPts val="960"/>
              </a:spcBef>
              <a:defRPr>
                <a:solidFill>
                  <a:schemeClr val="accent1"/>
                </a:solidFill>
              </a:defRPr>
            </a:lvl5pPr>
          </a:lstStyle>
          <a:p>
            <a:pPr lvl="0"/>
            <a:r>
              <a:rPr lang="en-GB" smtClean="0"/>
              <a:t>Click to edit Master text styles</a:t>
            </a:r>
          </a:p>
        </p:txBody>
      </p:sp>
    </p:spTree>
    <p:extLst>
      <p:ext uri="{BB962C8B-B14F-4D97-AF65-F5344CB8AC3E}">
        <p14:creationId xmlns:p14="http://schemas.microsoft.com/office/powerpoint/2010/main" val="5316251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3BD7BDD6-9ADE-46D4-BECC-4CCF088A6AF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986586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BDFE6E08-4283-4C56-A056-AD246597D5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161632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A1572603-57B8-46EF-919F-4FB6FABB01E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660343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DEAC2BF1-9B3B-466F-8A17-C2AD4DB9400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624533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4475"/>
            <a:ext cx="217805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4475"/>
            <a:ext cx="638175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01EFB6CF-2684-48C1-841A-D20CE5F4F32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662235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5900" y="244475"/>
            <a:ext cx="8712200" cy="3524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5900" y="641350"/>
            <a:ext cx="8712200" cy="5595938"/>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5D3F363-9908-471C-85E4-D73DDABF761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240225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0"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6088"/>
            <a:ext cx="8064500" cy="428625"/>
          </a:xfrm>
        </p:spPr>
        <p:txBody>
          <a:bodyPr/>
          <a:lstStyle>
            <a:lvl1pPr>
              <a:defRPr sz="2600"/>
            </a:lvl1pPr>
          </a:lstStyle>
          <a:p>
            <a:pPr lvl="0"/>
            <a:r>
              <a:rPr lang="en-US"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US" noProof="0" smtClean="0"/>
              <a:t>Click to edit Master subtitle style</a:t>
            </a:r>
          </a:p>
        </p:txBody>
      </p:sp>
      <p:sp>
        <p:nvSpPr>
          <p:cNvPr id="7"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US"/>
          </a:p>
        </p:txBody>
      </p:sp>
      <p:sp>
        <p:nvSpPr>
          <p:cNvPr id="8"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US"/>
              <a:t>Name of presentation</a:t>
            </a:r>
          </a:p>
        </p:txBody>
      </p:sp>
      <p:sp>
        <p:nvSpPr>
          <p:cNvPr id="9"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7CF69A0-AB16-4DB6-9216-01557C670935}" type="slidenum">
              <a:rPr lang="en-US"/>
              <a:pPr>
                <a:defRPr/>
              </a:pPr>
              <a:t>‹#›</a:t>
            </a:fld>
            <a:endParaRPr lang="en-US"/>
          </a:p>
        </p:txBody>
      </p:sp>
    </p:spTree>
    <p:extLst>
      <p:ext uri="{BB962C8B-B14F-4D97-AF65-F5344CB8AC3E}">
        <p14:creationId xmlns:p14="http://schemas.microsoft.com/office/powerpoint/2010/main" val="49653278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6BBBF736-042C-465D-9D4B-B2F4867F273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791114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9798336-600C-4A66-823C-C9D778CE26F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993819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9B56D880-B71B-42AC-ADC1-55D53E3A85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002023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DDDD862-F1C8-419E-90C9-296490F0E2CB}" type="slidenum">
              <a:rPr lang="en-GB"/>
              <a:pPr>
                <a:defRPr/>
              </a:pPr>
              <a:t>‹#›</a:t>
            </a:fld>
            <a:endParaRPr lang="en-GB"/>
          </a:p>
        </p:txBody>
      </p:sp>
    </p:spTree>
    <p:extLst>
      <p:ext uri="{BB962C8B-B14F-4D97-AF65-F5344CB8AC3E}">
        <p14:creationId xmlns:p14="http://schemas.microsoft.com/office/powerpoint/2010/main" val="32680154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8047ADF2-F77E-4E8B-B57E-D1CE2F50DE2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854861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771FF633-C60A-4401-872D-E255D0917BE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045949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3BD7BDD6-9ADE-46D4-BECC-4CCF088A6AF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2907154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BDFE6E08-4283-4C56-A056-AD246597D5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967509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A1572603-57B8-46EF-919F-4FB6FABB01E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253757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DEAC2BF1-9B3B-466F-8A17-C2AD4DB9400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1277219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4475"/>
            <a:ext cx="217805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4475"/>
            <a:ext cx="638175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01EFB6CF-2684-48C1-841A-D20CE5F4F32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9889211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5900" y="244475"/>
            <a:ext cx="8712200" cy="3524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5900" y="641350"/>
            <a:ext cx="8712200" cy="5595938"/>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5D3F363-9908-471C-85E4-D73DDABF761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4721521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0"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6088"/>
            <a:ext cx="8064500" cy="428625"/>
          </a:xfrm>
        </p:spPr>
        <p:txBody>
          <a:bodyPr/>
          <a:lstStyle>
            <a:lvl1pPr>
              <a:defRPr sz="2600"/>
            </a:lvl1pPr>
          </a:lstStyle>
          <a:p>
            <a:pPr lvl="0"/>
            <a:r>
              <a:rPr lang="en-US"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US" noProof="0" smtClean="0"/>
              <a:t>Click to edit Master subtitle style</a:t>
            </a:r>
          </a:p>
        </p:txBody>
      </p:sp>
      <p:sp>
        <p:nvSpPr>
          <p:cNvPr id="7"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US"/>
          </a:p>
        </p:txBody>
      </p:sp>
      <p:sp>
        <p:nvSpPr>
          <p:cNvPr id="8"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US"/>
              <a:t>Name of presentation</a:t>
            </a:r>
          </a:p>
        </p:txBody>
      </p:sp>
      <p:sp>
        <p:nvSpPr>
          <p:cNvPr id="9"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7CF69A0-AB16-4DB6-9216-01557C670935}" type="slidenum">
              <a:rPr lang="en-US"/>
              <a:pPr>
                <a:defRPr/>
              </a:pPr>
              <a:t>‹#›</a:t>
            </a:fld>
            <a:endParaRPr lang="en-US"/>
          </a:p>
        </p:txBody>
      </p:sp>
    </p:spTree>
    <p:extLst>
      <p:ext uri="{BB962C8B-B14F-4D97-AF65-F5344CB8AC3E}">
        <p14:creationId xmlns:p14="http://schemas.microsoft.com/office/powerpoint/2010/main" val="4789562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6BBBF736-042C-465D-9D4B-B2F4867F273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78520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7C54B84-4F7D-4121-AC7D-CD8D579F16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019269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9798336-600C-4A66-823C-C9D778CE26F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3702600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9B56D880-B71B-42AC-ADC1-55D53E3A85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000124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8047ADF2-F77E-4E8B-B57E-D1CE2F50DE2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032711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771FF633-C60A-4401-872D-E255D0917BE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1444470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3BD7BDD6-9ADE-46D4-BECC-4CCF088A6AF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4960950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BDFE6E08-4283-4C56-A056-AD246597D5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044087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A1572603-57B8-46EF-919F-4FB6FABB01E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714017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DEAC2BF1-9B3B-466F-8A17-C2AD4DB9400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8806985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4475"/>
            <a:ext cx="217805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4475"/>
            <a:ext cx="638175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01EFB6CF-2684-48C1-841A-D20CE5F4F32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502853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5900" y="244475"/>
            <a:ext cx="8712200" cy="3524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5900" y="641350"/>
            <a:ext cx="8712200" cy="5595938"/>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5D3F363-9908-471C-85E4-D73DDABF761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01851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4E3006D-46F5-4BFD-8E6E-E55841FA4B7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987023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0"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6088"/>
            <a:ext cx="8064500" cy="428625"/>
          </a:xfrm>
        </p:spPr>
        <p:txBody>
          <a:bodyPr/>
          <a:lstStyle>
            <a:lvl1pPr>
              <a:defRPr sz="2600"/>
            </a:lvl1pPr>
          </a:lstStyle>
          <a:p>
            <a:pPr lvl="0"/>
            <a:r>
              <a:rPr lang="en-US"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US" noProof="0" smtClean="0"/>
              <a:t>Click to edit Master subtitle style</a:t>
            </a:r>
          </a:p>
        </p:txBody>
      </p:sp>
      <p:sp>
        <p:nvSpPr>
          <p:cNvPr id="7"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US"/>
          </a:p>
        </p:txBody>
      </p:sp>
      <p:sp>
        <p:nvSpPr>
          <p:cNvPr id="8"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US"/>
              <a:t>Name of presentation</a:t>
            </a:r>
          </a:p>
        </p:txBody>
      </p:sp>
      <p:sp>
        <p:nvSpPr>
          <p:cNvPr id="9"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28735629-677C-420A-8BEA-E23A8D4BA973}" type="slidenum">
              <a:rPr lang="en-US"/>
              <a:pPr>
                <a:defRPr/>
              </a:pPr>
              <a:t>‹#›</a:t>
            </a:fld>
            <a:endParaRPr lang="en-US"/>
          </a:p>
        </p:txBody>
      </p:sp>
    </p:spTree>
    <p:extLst>
      <p:ext uri="{BB962C8B-B14F-4D97-AF65-F5344CB8AC3E}">
        <p14:creationId xmlns:p14="http://schemas.microsoft.com/office/powerpoint/2010/main" val="25631584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BDB8113C-FA89-48CB-B1C0-3F09683B505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51310489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CB62A11-C8BC-474B-BABF-BDF181BB1B5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5520366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ED3DADD2-C377-41F7-A9B8-B8F8D1F454E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762071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A721C875-9EAB-4620-99E7-A4161A36ACD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136716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1858A6D1-5472-43A2-9200-06B1442006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428122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32D77C7B-83F3-4BD2-A061-FEE87B31FED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1480588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7C371EB-4FC2-464C-BB66-8892C52F6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5355687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8684C5E4-A26D-4E7A-80C9-008D458A8CA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825832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65A03AC4-6C37-476E-99CF-B7DEADD87DB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846233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0F8DA5E8-531F-408B-A5C3-9AB2748C4C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6635180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4475"/>
            <a:ext cx="217805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4475"/>
            <a:ext cx="638175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B311BB45-9185-43F9-9949-94F1AE8709B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2441908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5900" y="244475"/>
            <a:ext cx="8712200" cy="3524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5900" y="641350"/>
            <a:ext cx="8712200" cy="5595938"/>
          </a:xfrm>
        </p:spPr>
        <p:txBody>
          <a:bodyPr/>
          <a:lstStyle/>
          <a:p>
            <a:pPr lvl="0"/>
            <a:r>
              <a:rPr lang="en-US" noProof="0" smtClean="0"/>
              <a:t>Click icon to add chart</a:t>
            </a:r>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2BD915A6-B5B4-45F9-9D4D-07B9BA943D3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422611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9AC51FE8-3F29-4ECD-B997-F89C4E00C5A3}" type="slidenum">
              <a:rPr lang="en-GB"/>
              <a:pPr>
                <a:defRPr/>
              </a:pPr>
              <a:t>‹#›</a:t>
            </a:fld>
            <a:endParaRPr lang="en-GB"/>
          </a:p>
        </p:txBody>
      </p:sp>
    </p:spTree>
    <p:extLst>
      <p:ext uri="{BB962C8B-B14F-4D97-AF65-F5344CB8AC3E}">
        <p14:creationId xmlns:p14="http://schemas.microsoft.com/office/powerpoint/2010/main" val="243321938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0E635FDF-F527-4068-BBD9-C4CAAE79F4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31049095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6E679ED-F4C0-4C2B-B209-8A2FA1B6C710}"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38202069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604D8A9F-4AFD-4EC4-924F-380C0F325244}"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74555386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464714F3-FC89-4024-985A-F9D5561490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0916973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586E1C84-4547-4E77-8CAC-CBA5412C189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23061972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DE1129B4-038F-4992-B9F3-C8C373290DB4}"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9811861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9EB4C835-529A-4F37-95F8-CC82101A0BB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0901744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2ACBD04D-A9AB-4B20-91F4-F95E2FA3685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0181027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E753C845-F478-434E-A584-E37905A36B65}"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93218236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F166C81E-F718-4F0F-9239-49C36A28B49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52780145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A1594A82-8A4D-4480-BB11-62D7BF14274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5478498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15900" y="246063"/>
            <a:ext cx="8712200" cy="3524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215900" y="641350"/>
            <a:ext cx="8712200" cy="5595938"/>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GMCI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23EA0EAE-AE87-4BEA-868C-94EC13A3F6F9}"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548318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993009C6-19D0-48BE-A38A-2DB2AB42F5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754611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A211B4B-027B-4389-8896-F209AC8F0F6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525521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7C54B84-4F7D-4121-AC7D-CD8D579F16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9349170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27F77B0D-04F4-429F-939A-9D6675D3848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9711781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281BA5-FBAD-43AC-90E5-12B5EBA867C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689115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CBA31FE-2617-4883-AC15-31272422D8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2775456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92E2B944-5C4B-4D11-A88A-80D926FCEA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180737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DDDD862-F1C8-419E-90C9-296490F0E2CB}" type="slidenum">
              <a:rPr lang="en-GB"/>
              <a:pPr>
                <a:defRPr/>
              </a:pPr>
              <a:t>‹#›</a:t>
            </a:fld>
            <a:endParaRPr lang="en-GB"/>
          </a:p>
        </p:txBody>
      </p:sp>
    </p:spTree>
    <p:extLst>
      <p:ext uri="{BB962C8B-B14F-4D97-AF65-F5344CB8AC3E}">
        <p14:creationId xmlns:p14="http://schemas.microsoft.com/office/powerpoint/2010/main" val="1564377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7C54B84-4F7D-4121-AC7D-CD8D579F16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6955892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4E3006D-46F5-4BFD-8E6E-E55841FA4B7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891051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0F8DA5E8-531F-408B-A5C3-9AB2748C4C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479960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2ACBD04D-A9AB-4B20-91F4-F95E2FA3685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956864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993009C6-19D0-48BE-A38A-2DB2AB42F5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5345374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4E3006D-46F5-4BFD-8E6E-E55841FA4B7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474218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A211B4B-027B-4389-8896-F209AC8F0F6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5667728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27F77B0D-04F4-429F-939A-9D6675D3848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926082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281BA5-FBAD-43AC-90E5-12B5EBA867C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339884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CBA31FE-2617-4883-AC15-31272422D8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8345577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92E2B944-5C4B-4D11-A88A-80D926FCEA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8988014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8F44C072-656C-41BC-BDDF-6F0FE95D4383}" type="slidenum">
              <a:rPr lang="en-GB"/>
              <a:pPr>
                <a:defRPr/>
              </a:pPr>
              <a:t>‹#›</a:t>
            </a:fld>
            <a:endParaRPr lang="en-GB"/>
          </a:p>
        </p:txBody>
      </p:sp>
    </p:spTree>
    <p:extLst>
      <p:ext uri="{BB962C8B-B14F-4D97-AF65-F5344CB8AC3E}">
        <p14:creationId xmlns:p14="http://schemas.microsoft.com/office/powerpoint/2010/main" val="2201588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21963F45-79E6-4E8F-B27A-DB0259E447D4}" type="slidenum">
              <a:rPr lang="en-GB"/>
              <a:pPr>
                <a:defRPr/>
              </a:pPr>
              <a:t>‹#›</a:t>
            </a:fld>
            <a:endParaRPr lang="en-GB"/>
          </a:p>
        </p:txBody>
      </p:sp>
    </p:spTree>
    <p:extLst>
      <p:ext uri="{BB962C8B-B14F-4D97-AF65-F5344CB8AC3E}">
        <p14:creationId xmlns:p14="http://schemas.microsoft.com/office/powerpoint/2010/main" val="7344577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39F3993-9AD5-4F29-AE4B-037F0A2E0490}" type="slidenum">
              <a:rPr lang="en-GB"/>
              <a:pPr>
                <a:defRPr/>
              </a:pPr>
              <a:t>‹#›</a:t>
            </a:fld>
            <a:endParaRPr lang="en-GB"/>
          </a:p>
        </p:txBody>
      </p:sp>
    </p:spTree>
    <p:extLst>
      <p:ext uri="{BB962C8B-B14F-4D97-AF65-F5344CB8AC3E}">
        <p14:creationId xmlns:p14="http://schemas.microsoft.com/office/powerpoint/2010/main" val="15025694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CE112C-60BB-407A-9CAC-8E3C2733E587}" type="slidenum">
              <a:rPr lang="en-GB"/>
              <a:pPr>
                <a:defRPr/>
              </a:pPr>
              <a:t>‹#›</a:t>
            </a:fld>
            <a:endParaRPr lang="en-GB"/>
          </a:p>
        </p:txBody>
      </p:sp>
    </p:spTree>
    <p:extLst>
      <p:ext uri="{BB962C8B-B14F-4D97-AF65-F5344CB8AC3E}">
        <p14:creationId xmlns:p14="http://schemas.microsoft.com/office/powerpoint/2010/main" val="4124513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5542D349-F6BF-4B94-B34B-8E065924D58F}" type="slidenum">
              <a:rPr lang="en-GB"/>
              <a:pPr>
                <a:defRPr/>
              </a:pPr>
              <a:t>‹#›</a:t>
            </a:fld>
            <a:endParaRPr lang="en-GB"/>
          </a:p>
        </p:txBody>
      </p:sp>
    </p:spTree>
    <p:extLst>
      <p:ext uri="{BB962C8B-B14F-4D97-AF65-F5344CB8AC3E}">
        <p14:creationId xmlns:p14="http://schemas.microsoft.com/office/powerpoint/2010/main" val="684362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0F8DA5E8-531F-408B-A5C3-9AB2748C4C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8015637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EB91F907-147D-41EE-B85C-428AC052533C}" type="slidenum">
              <a:rPr lang="en-GB"/>
              <a:pPr>
                <a:defRPr/>
              </a:pPr>
              <a:t>‹#›</a:t>
            </a:fld>
            <a:endParaRPr lang="en-GB"/>
          </a:p>
        </p:txBody>
      </p:sp>
    </p:spTree>
    <p:extLst>
      <p:ext uri="{BB962C8B-B14F-4D97-AF65-F5344CB8AC3E}">
        <p14:creationId xmlns:p14="http://schemas.microsoft.com/office/powerpoint/2010/main" val="7154132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E879E816-A96B-4C05-90DF-53EB73300339}" type="slidenum">
              <a:rPr lang="en-GB"/>
              <a:pPr>
                <a:defRPr/>
              </a:pPr>
              <a:t>‹#›</a:t>
            </a:fld>
            <a:endParaRPr lang="en-GB"/>
          </a:p>
        </p:txBody>
      </p:sp>
    </p:spTree>
    <p:extLst>
      <p:ext uri="{BB962C8B-B14F-4D97-AF65-F5344CB8AC3E}">
        <p14:creationId xmlns:p14="http://schemas.microsoft.com/office/powerpoint/2010/main" val="28127573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45D29583-3C75-4756-9E24-173993E93578}" type="slidenum">
              <a:rPr lang="en-GB"/>
              <a:pPr>
                <a:defRPr/>
              </a:pPr>
              <a:t>‹#›</a:t>
            </a:fld>
            <a:endParaRPr lang="en-GB"/>
          </a:p>
        </p:txBody>
      </p:sp>
    </p:spTree>
    <p:extLst>
      <p:ext uri="{BB962C8B-B14F-4D97-AF65-F5344CB8AC3E}">
        <p14:creationId xmlns:p14="http://schemas.microsoft.com/office/powerpoint/2010/main" val="25683049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83E06FC1-9A65-426E-A7C5-DEA760A2E5E1}" type="slidenum">
              <a:rPr lang="en-GB"/>
              <a:pPr>
                <a:defRPr/>
              </a:pPr>
              <a:t>‹#›</a:t>
            </a:fld>
            <a:endParaRPr lang="en-GB"/>
          </a:p>
        </p:txBody>
      </p:sp>
    </p:spTree>
    <p:extLst>
      <p:ext uri="{BB962C8B-B14F-4D97-AF65-F5344CB8AC3E}">
        <p14:creationId xmlns:p14="http://schemas.microsoft.com/office/powerpoint/2010/main" val="19702470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77CD97C8-A0C5-4DE7-92B1-BE230D6C4967}" type="slidenum">
              <a:rPr lang="en-GB"/>
              <a:pPr>
                <a:defRPr/>
              </a:pPr>
              <a:t>‹#›</a:t>
            </a:fld>
            <a:endParaRPr lang="en-GB"/>
          </a:p>
        </p:txBody>
      </p:sp>
    </p:spTree>
    <p:extLst>
      <p:ext uri="{BB962C8B-B14F-4D97-AF65-F5344CB8AC3E}">
        <p14:creationId xmlns:p14="http://schemas.microsoft.com/office/powerpoint/2010/main" val="4008879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FB8FD808-82DF-4D64-AC2F-89DC13C3452D}" type="slidenum">
              <a:rPr lang="en-GB"/>
              <a:pPr>
                <a:defRPr/>
              </a:pPr>
              <a:t>‹#›</a:t>
            </a:fld>
            <a:endParaRPr lang="en-GB"/>
          </a:p>
        </p:txBody>
      </p:sp>
    </p:spTree>
    <p:extLst>
      <p:ext uri="{BB962C8B-B14F-4D97-AF65-F5344CB8AC3E}">
        <p14:creationId xmlns:p14="http://schemas.microsoft.com/office/powerpoint/2010/main" val="15634516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DDDD862-F1C8-419E-90C9-296490F0E2CB}" type="slidenum">
              <a:rPr lang="en-GB"/>
              <a:pPr>
                <a:defRPr/>
              </a:pPr>
              <a:t>‹#›</a:t>
            </a:fld>
            <a:endParaRPr lang="en-GB"/>
          </a:p>
        </p:txBody>
      </p:sp>
    </p:spTree>
    <p:extLst>
      <p:ext uri="{BB962C8B-B14F-4D97-AF65-F5344CB8AC3E}">
        <p14:creationId xmlns:p14="http://schemas.microsoft.com/office/powerpoint/2010/main" val="16725598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7C54B84-4F7D-4121-AC7D-CD8D579F16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9666642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4E3006D-46F5-4BFD-8E6E-E55841FA4B7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0131578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0F8DA5E8-531F-408B-A5C3-9AB2748C4C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61843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2ACBD04D-A9AB-4B20-91F4-F95E2FA3685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72595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2ACBD04D-A9AB-4B20-91F4-F95E2FA3685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5170521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993009C6-19D0-48BE-A38A-2DB2AB42F5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691035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A211B4B-027B-4389-8896-F209AC8F0F6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5976198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27F77B0D-04F4-429F-939A-9D6675D3848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8342682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281BA5-FBAD-43AC-90E5-12B5EBA867C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7980531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CBA31FE-2617-4883-AC15-31272422D8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2277712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92E2B944-5C4B-4D11-A88A-80D926FCEA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07698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DDDD862-F1C8-419E-90C9-296490F0E2CB}" type="slidenum">
              <a:rPr lang="en-GB"/>
              <a:pPr>
                <a:defRPr/>
              </a:pPr>
              <a:t>‹#›</a:t>
            </a:fld>
            <a:endParaRPr lang="en-GB"/>
          </a:p>
        </p:txBody>
      </p:sp>
    </p:spTree>
    <p:extLst>
      <p:ext uri="{BB962C8B-B14F-4D97-AF65-F5344CB8AC3E}">
        <p14:creationId xmlns:p14="http://schemas.microsoft.com/office/powerpoint/2010/main" val="24734504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7C54B84-4F7D-4121-AC7D-CD8D579F16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166421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4E3006D-46F5-4BFD-8E6E-E55841FA4B7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072053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993009C6-19D0-48BE-A38A-2DB2AB42F5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549337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0F8DA5E8-531F-408B-A5C3-9AB2748C4C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6138364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2ACBD04D-A9AB-4B20-91F4-F95E2FA3685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2483417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993009C6-19D0-48BE-A38A-2DB2AB42F5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0548750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A211B4B-027B-4389-8896-F209AC8F0F6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485905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27F77B0D-04F4-429F-939A-9D6675D3848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2386098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281BA5-FBAD-43AC-90E5-12B5EBA867C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631404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CBA31FE-2617-4883-AC15-31272422D8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048587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92E2B944-5C4B-4D11-A88A-80D926FCEA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4429475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9" descr="Vestas_Tagline_bi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7675"/>
            <a:ext cx="8064500" cy="428625"/>
          </a:xfrm>
        </p:spPr>
        <p:txBody>
          <a:bodyPr/>
          <a:lstStyle>
            <a:lvl1pPr>
              <a:defRPr sz="2600"/>
            </a:lvl1pPr>
          </a:lstStyle>
          <a:p>
            <a:pPr lvl="0"/>
            <a:r>
              <a:rPr lang="en-GB"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GB" noProof="0" smtClean="0"/>
              <a:t>Click to edit Master subtitle style</a:t>
            </a:r>
          </a:p>
        </p:txBody>
      </p:sp>
      <p:sp>
        <p:nvSpPr>
          <p:cNvPr id="5"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GB"/>
          </a:p>
        </p:txBody>
      </p:sp>
      <p:sp>
        <p:nvSpPr>
          <p:cNvPr id="6"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GB"/>
              <a:t>Name of presentation</a:t>
            </a:r>
          </a:p>
        </p:txBody>
      </p:sp>
      <p:sp>
        <p:nvSpPr>
          <p:cNvPr id="7"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5DDDD862-F1C8-419E-90C9-296490F0E2CB}" type="slidenum">
              <a:rPr lang="en-GB"/>
              <a:pPr>
                <a:defRPr/>
              </a:pPr>
              <a:t>‹#›</a:t>
            </a:fld>
            <a:endParaRPr lang="en-GB"/>
          </a:p>
        </p:txBody>
      </p:sp>
    </p:spTree>
    <p:extLst>
      <p:ext uri="{BB962C8B-B14F-4D97-AF65-F5344CB8AC3E}">
        <p14:creationId xmlns:p14="http://schemas.microsoft.com/office/powerpoint/2010/main" val="2302220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57C54B84-4F7D-4121-AC7D-CD8D579F16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74003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A211B4B-027B-4389-8896-F209AC8F0F6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5169893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E4E3006D-46F5-4BFD-8E6E-E55841FA4B7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4469322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0F8DA5E8-531F-408B-A5C3-9AB2748C4C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728657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2ACBD04D-A9AB-4B20-91F4-F95E2FA3685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2109082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993009C6-19D0-48BE-A38A-2DB2AB42F59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7648408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A211B4B-027B-4389-8896-F209AC8F0F6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8197986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27F77B0D-04F4-429F-939A-9D6675D3848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9246333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281BA5-FBAD-43AC-90E5-12B5EBA867C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360204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4CBA31FE-2617-4883-AC15-31272422D8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3159623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6063"/>
            <a:ext cx="2178050" cy="59912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215900" y="246063"/>
            <a:ext cx="6381750" cy="5991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92E2B944-5C4B-4D11-A88A-80D926FCEA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817776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0"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6088"/>
            <a:ext cx="8064500" cy="428625"/>
          </a:xfrm>
        </p:spPr>
        <p:txBody>
          <a:bodyPr/>
          <a:lstStyle>
            <a:lvl1pPr>
              <a:defRPr sz="2600"/>
            </a:lvl1pPr>
          </a:lstStyle>
          <a:p>
            <a:pPr lvl="0"/>
            <a:r>
              <a:rPr lang="en-US"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US" noProof="0" smtClean="0"/>
              <a:t>Click to edit Master subtitle style</a:t>
            </a:r>
          </a:p>
        </p:txBody>
      </p:sp>
      <p:sp>
        <p:nvSpPr>
          <p:cNvPr id="7"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US"/>
          </a:p>
        </p:txBody>
      </p:sp>
      <p:sp>
        <p:nvSpPr>
          <p:cNvPr id="8"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US"/>
              <a:t>Name of presentation</a:t>
            </a:r>
          </a:p>
        </p:txBody>
      </p:sp>
      <p:sp>
        <p:nvSpPr>
          <p:cNvPr id="9"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30BC8143-82BD-4EC8-9270-AFBFEC919D71}" type="slidenum">
              <a:rPr lang="en-US"/>
              <a:pPr>
                <a:defRPr/>
              </a:pPr>
              <a:t>‹#›</a:t>
            </a:fld>
            <a:endParaRPr lang="en-US"/>
          </a:p>
        </p:txBody>
      </p:sp>
    </p:spTree>
    <p:extLst>
      <p:ext uri="{BB962C8B-B14F-4D97-AF65-F5344CB8AC3E}">
        <p14:creationId xmlns:p14="http://schemas.microsoft.com/office/powerpoint/2010/main" val="2214900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27F77B0D-04F4-429F-939A-9D6675D3848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0712272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66EA6376-BF42-429B-A969-350D95244751}" type="slidenum">
              <a:rPr lang="en-US"/>
              <a:pPr>
                <a:defRPr/>
              </a:pPr>
              <a:t>‹#›</a:t>
            </a:fld>
            <a:endParaRPr lang="en-US"/>
          </a:p>
        </p:txBody>
      </p:sp>
    </p:spTree>
    <p:extLst>
      <p:ext uri="{BB962C8B-B14F-4D97-AF65-F5344CB8AC3E}">
        <p14:creationId xmlns:p14="http://schemas.microsoft.com/office/powerpoint/2010/main" val="119613239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B1E53CB2-46C2-40C6-8507-DA93E7C5882B}" type="slidenum">
              <a:rPr lang="en-US"/>
              <a:pPr>
                <a:defRPr/>
              </a:pPr>
              <a:t>‹#›</a:t>
            </a:fld>
            <a:endParaRPr lang="en-US"/>
          </a:p>
        </p:txBody>
      </p:sp>
    </p:spTree>
    <p:extLst>
      <p:ext uri="{BB962C8B-B14F-4D97-AF65-F5344CB8AC3E}">
        <p14:creationId xmlns:p14="http://schemas.microsoft.com/office/powerpoint/2010/main" val="174161563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FF7E9D1D-F722-4D87-853A-6B34290ACEB2}" type="slidenum">
              <a:rPr lang="en-US"/>
              <a:pPr>
                <a:defRPr/>
              </a:pPr>
              <a:t>‹#›</a:t>
            </a:fld>
            <a:endParaRPr lang="en-US"/>
          </a:p>
        </p:txBody>
      </p:sp>
    </p:spTree>
    <p:extLst>
      <p:ext uri="{BB962C8B-B14F-4D97-AF65-F5344CB8AC3E}">
        <p14:creationId xmlns:p14="http://schemas.microsoft.com/office/powerpoint/2010/main" val="34514064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85A9CCC3-3923-4892-A12C-6265632E10BB}" type="slidenum">
              <a:rPr lang="en-US"/>
              <a:pPr>
                <a:defRPr/>
              </a:pPr>
              <a:t>‹#›</a:t>
            </a:fld>
            <a:endParaRPr lang="en-US"/>
          </a:p>
        </p:txBody>
      </p:sp>
    </p:spTree>
    <p:extLst>
      <p:ext uri="{BB962C8B-B14F-4D97-AF65-F5344CB8AC3E}">
        <p14:creationId xmlns:p14="http://schemas.microsoft.com/office/powerpoint/2010/main" val="22359009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663D470C-FE9F-4853-89FB-A8EDCB7A0A8C}" type="slidenum">
              <a:rPr lang="en-US"/>
              <a:pPr>
                <a:defRPr/>
              </a:pPr>
              <a:t>‹#›</a:t>
            </a:fld>
            <a:endParaRPr lang="en-US"/>
          </a:p>
        </p:txBody>
      </p:sp>
    </p:spTree>
    <p:extLst>
      <p:ext uri="{BB962C8B-B14F-4D97-AF65-F5344CB8AC3E}">
        <p14:creationId xmlns:p14="http://schemas.microsoft.com/office/powerpoint/2010/main" val="29130700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A0AD6958-9330-4D1A-A1AC-64A8B122EAD7}" type="slidenum">
              <a:rPr lang="en-US"/>
              <a:pPr>
                <a:defRPr/>
              </a:pPr>
              <a:t>‹#›</a:t>
            </a:fld>
            <a:endParaRPr lang="en-US"/>
          </a:p>
        </p:txBody>
      </p:sp>
    </p:spTree>
    <p:extLst>
      <p:ext uri="{BB962C8B-B14F-4D97-AF65-F5344CB8AC3E}">
        <p14:creationId xmlns:p14="http://schemas.microsoft.com/office/powerpoint/2010/main" val="24994370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5E97D9EB-8321-4D26-93C6-935D47E934E2}" type="slidenum">
              <a:rPr lang="en-US"/>
              <a:pPr>
                <a:defRPr/>
              </a:pPr>
              <a:t>‹#›</a:t>
            </a:fld>
            <a:endParaRPr lang="en-US"/>
          </a:p>
        </p:txBody>
      </p:sp>
    </p:spTree>
    <p:extLst>
      <p:ext uri="{BB962C8B-B14F-4D97-AF65-F5344CB8AC3E}">
        <p14:creationId xmlns:p14="http://schemas.microsoft.com/office/powerpoint/2010/main" val="27963944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EE59AF73-73EA-4EBC-97C7-AAB1E01F141A}" type="slidenum">
              <a:rPr lang="en-US"/>
              <a:pPr>
                <a:defRPr/>
              </a:pPr>
              <a:t>‹#›</a:t>
            </a:fld>
            <a:endParaRPr lang="en-US"/>
          </a:p>
        </p:txBody>
      </p:sp>
    </p:spTree>
    <p:extLst>
      <p:ext uri="{BB962C8B-B14F-4D97-AF65-F5344CB8AC3E}">
        <p14:creationId xmlns:p14="http://schemas.microsoft.com/office/powerpoint/2010/main" val="25709337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01FDD930-70E8-4085-B057-DBC763B0D0BC}" type="slidenum">
              <a:rPr lang="en-US"/>
              <a:pPr>
                <a:defRPr/>
              </a:pPr>
              <a:t>‹#›</a:t>
            </a:fld>
            <a:endParaRPr lang="en-US"/>
          </a:p>
        </p:txBody>
      </p:sp>
    </p:spTree>
    <p:extLst>
      <p:ext uri="{BB962C8B-B14F-4D97-AF65-F5344CB8AC3E}">
        <p14:creationId xmlns:p14="http://schemas.microsoft.com/office/powerpoint/2010/main" val="1631981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244475"/>
            <a:ext cx="217805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5900" y="244475"/>
            <a:ext cx="638175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F4F01F5E-7F37-4B3B-B6E8-EA9683234927}" type="slidenum">
              <a:rPr lang="en-US"/>
              <a:pPr>
                <a:defRPr/>
              </a:pPr>
              <a:t>‹#›</a:t>
            </a:fld>
            <a:endParaRPr lang="en-US"/>
          </a:p>
        </p:txBody>
      </p:sp>
    </p:spTree>
    <p:extLst>
      <p:ext uri="{BB962C8B-B14F-4D97-AF65-F5344CB8AC3E}">
        <p14:creationId xmlns:p14="http://schemas.microsoft.com/office/powerpoint/2010/main" val="652730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srgbClr val="000000"/>
                </a:solidFill>
              </a:rPr>
              <a:t> Vestas Corporate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D6281BA5-FBAD-43AC-90E5-12B5EBA867C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9922020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5900" y="244475"/>
            <a:ext cx="8712200" cy="3524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5900" y="641350"/>
            <a:ext cx="8712200" cy="5595938"/>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C91FD907-BD35-4F23-922D-4957906E2EDE}" type="slidenum">
              <a:rPr lang="en-US"/>
              <a:pPr>
                <a:defRPr/>
              </a:pPr>
              <a:t>‹#›</a:t>
            </a:fld>
            <a:endParaRPr lang="en-US"/>
          </a:p>
        </p:txBody>
      </p:sp>
    </p:spTree>
    <p:extLst>
      <p:ext uri="{BB962C8B-B14F-4D97-AF65-F5344CB8AC3E}">
        <p14:creationId xmlns:p14="http://schemas.microsoft.com/office/powerpoint/2010/main" val="15203418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0" descr="Mil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825" cy="381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4" descr="Vestas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306388"/>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9" descr="Vestas_Tagline_b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47700" y="4256088"/>
            <a:ext cx="8064500" cy="428625"/>
          </a:xfrm>
        </p:spPr>
        <p:txBody>
          <a:bodyPr/>
          <a:lstStyle>
            <a:lvl1pPr>
              <a:defRPr sz="2600"/>
            </a:lvl1pPr>
          </a:lstStyle>
          <a:p>
            <a:pPr lvl="0"/>
            <a:r>
              <a:rPr lang="en-US" noProof="0" smtClean="0"/>
              <a:t>Click to edit Master title style</a:t>
            </a:r>
          </a:p>
        </p:txBody>
      </p:sp>
      <p:sp>
        <p:nvSpPr>
          <p:cNvPr id="3075" name="Rectangle 3"/>
          <p:cNvSpPr>
            <a:spLocks noGrp="1" noChangeArrowheads="1"/>
          </p:cNvSpPr>
          <p:nvPr>
            <p:ph type="subTitle" idx="1"/>
          </p:nvPr>
        </p:nvSpPr>
        <p:spPr>
          <a:xfrm>
            <a:off x="647700" y="4805363"/>
            <a:ext cx="8064500" cy="1431925"/>
          </a:xfrm>
        </p:spPr>
        <p:txBody>
          <a:bodyPr/>
          <a:lstStyle>
            <a:lvl1pPr>
              <a:lnSpc>
                <a:spcPct val="99000"/>
              </a:lnSpc>
              <a:defRPr sz="1600">
                <a:solidFill>
                  <a:schemeClr val="hlink"/>
                </a:solidFill>
              </a:defRPr>
            </a:lvl1pPr>
          </a:lstStyle>
          <a:p>
            <a:pPr lvl="0"/>
            <a:r>
              <a:rPr lang="en-US" noProof="0" smtClean="0"/>
              <a:t>Click to edit Master subtitle style</a:t>
            </a:r>
          </a:p>
        </p:txBody>
      </p:sp>
      <p:sp>
        <p:nvSpPr>
          <p:cNvPr id="7" name="Rectangle 36"/>
          <p:cNvSpPr>
            <a:spLocks noGrp="1" noChangeArrowheads="1"/>
          </p:cNvSpPr>
          <p:nvPr>
            <p:ph type="dt" sz="half" idx="10"/>
          </p:nvPr>
        </p:nvSpPr>
        <p:spPr>
          <a:xfrm>
            <a:off x="647700" y="6619875"/>
            <a:ext cx="2159000" cy="144463"/>
          </a:xfrm>
        </p:spPr>
        <p:txBody>
          <a:bodyPr/>
          <a:lstStyle>
            <a:lvl1pPr>
              <a:defRPr/>
            </a:lvl1pPr>
          </a:lstStyle>
          <a:p>
            <a:pPr>
              <a:defRPr/>
            </a:pPr>
            <a:endParaRPr lang="en-US"/>
          </a:p>
        </p:txBody>
      </p:sp>
      <p:sp>
        <p:nvSpPr>
          <p:cNvPr id="8" name="Rectangle 37"/>
          <p:cNvSpPr>
            <a:spLocks noGrp="1" noChangeArrowheads="1"/>
          </p:cNvSpPr>
          <p:nvPr>
            <p:ph type="ftr" sz="quarter" idx="11"/>
          </p:nvPr>
        </p:nvSpPr>
        <p:spPr>
          <a:xfrm>
            <a:off x="827088" y="6484938"/>
            <a:ext cx="7885112" cy="144462"/>
          </a:xfrm>
        </p:spPr>
        <p:txBody>
          <a:bodyPr/>
          <a:lstStyle>
            <a:lvl1pPr>
              <a:defRPr>
                <a:solidFill>
                  <a:srgbClr val="FFFFFF"/>
                </a:solidFill>
              </a:defRPr>
            </a:lvl1pPr>
          </a:lstStyle>
          <a:p>
            <a:pPr>
              <a:defRPr/>
            </a:pPr>
            <a:r>
              <a:rPr lang="en-US"/>
              <a:t>Name of presentation</a:t>
            </a:r>
          </a:p>
        </p:txBody>
      </p:sp>
      <p:sp>
        <p:nvSpPr>
          <p:cNvPr id="9" name="Rectangle 38"/>
          <p:cNvSpPr>
            <a:spLocks noGrp="1" noChangeArrowheads="1"/>
          </p:cNvSpPr>
          <p:nvPr>
            <p:ph type="sldNum" sz="quarter" idx="12"/>
          </p:nvPr>
        </p:nvSpPr>
        <p:spPr>
          <a:xfrm>
            <a:off x="647700" y="6484938"/>
            <a:ext cx="287338" cy="144462"/>
          </a:xfrm>
        </p:spPr>
        <p:txBody>
          <a:bodyPr/>
          <a:lstStyle>
            <a:lvl1pPr>
              <a:defRPr>
                <a:solidFill>
                  <a:srgbClr val="FFFFFF"/>
                </a:solidFill>
              </a:defRPr>
            </a:lvl1pPr>
          </a:lstStyle>
          <a:p>
            <a:pPr>
              <a:defRPr/>
            </a:pPr>
            <a:fld id="{18088857-0A61-4312-8857-3C5A9B25914F}" type="slidenum">
              <a:rPr lang="en-US"/>
              <a:pPr>
                <a:defRPr/>
              </a:pPr>
              <a:t>‹#›</a:t>
            </a:fld>
            <a:endParaRPr lang="en-US"/>
          </a:p>
        </p:txBody>
      </p:sp>
    </p:spTree>
    <p:extLst>
      <p:ext uri="{BB962C8B-B14F-4D97-AF65-F5344CB8AC3E}">
        <p14:creationId xmlns:p14="http://schemas.microsoft.com/office/powerpoint/2010/main" val="1682585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722F9211-F271-475F-A815-B8FC72F72003}" type="slidenum">
              <a:rPr lang="en-US"/>
              <a:pPr>
                <a:defRPr/>
              </a:pPr>
              <a:t>‹#›</a:t>
            </a:fld>
            <a:endParaRPr lang="en-US"/>
          </a:p>
        </p:txBody>
      </p:sp>
    </p:spTree>
    <p:extLst>
      <p:ext uri="{BB962C8B-B14F-4D97-AF65-F5344CB8AC3E}">
        <p14:creationId xmlns:p14="http://schemas.microsoft.com/office/powerpoint/2010/main" val="29466547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6" name="Rectangle 6"/>
          <p:cNvSpPr>
            <a:spLocks noGrp="1" noChangeArrowheads="1"/>
          </p:cNvSpPr>
          <p:nvPr>
            <p:ph type="sldNum" sz="quarter" idx="12"/>
          </p:nvPr>
        </p:nvSpPr>
        <p:spPr>
          <a:ln/>
        </p:spPr>
        <p:txBody>
          <a:bodyPr/>
          <a:lstStyle>
            <a:lvl1pPr>
              <a:defRPr/>
            </a:lvl1pPr>
          </a:lstStyle>
          <a:p>
            <a:pPr>
              <a:defRPr/>
            </a:pPr>
            <a:fld id="{7B761F45-7742-4245-80F6-A1ECD409878E}" type="slidenum">
              <a:rPr lang="en-US"/>
              <a:pPr>
                <a:defRPr/>
              </a:pPr>
              <a:t>‹#›</a:t>
            </a:fld>
            <a:endParaRPr lang="en-US"/>
          </a:p>
        </p:txBody>
      </p:sp>
    </p:spTree>
    <p:extLst>
      <p:ext uri="{BB962C8B-B14F-4D97-AF65-F5344CB8AC3E}">
        <p14:creationId xmlns:p14="http://schemas.microsoft.com/office/powerpoint/2010/main" val="11597627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59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641350"/>
            <a:ext cx="4279900" cy="559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BF0FF0B3-F1A2-4D89-A8CA-62583089A2D3}" type="slidenum">
              <a:rPr lang="en-US"/>
              <a:pPr>
                <a:defRPr/>
              </a:pPr>
              <a:t>‹#›</a:t>
            </a:fld>
            <a:endParaRPr lang="en-US"/>
          </a:p>
        </p:txBody>
      </p:sp>
    </p:spTree>
    <p:extLst>
      <p:ext uri="{BB962C8B-B14F-4D97-AF65-F5344CB8AC3E}">
        <p14:creationId xmlns:p14="http://schemas.microsoft.com/office/powerpoint/2010/main" val="20614087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9" name="Rectangle 6"/>
          <p:cNvSpPr>
            <a:spLocks noGrp="1" noChangeArrowheads="1"/>
          </p:cNvSpPr>
          <p:nvPr>
            <p:ph type="sldNum" sz="quarter" idx="12"/>
          </p:nvPr>
        </p:nvSpPr>
        <p:spPr>
          <a:ln/>
        </p:spPr>
        <p:txBody>
          <a:bodyPr/>
          <a:lstStyle>
            <a:lvl1pPr>
              <a:defRPr/>
            </a:lvl1pPr>
          </a:lstStyle>
          <a:p>
            <a:pPr>
              <a:defRPr/>
            </a:pPr>
            <a:fld id="{CF9B1D76-17CD-427C-8358-5F50741BAA41}" type="slidenum">
              <a:rPr lang="en-US"/>
              <a:pPr>
                <a:defRPr/>
              </a:pPr>
              <a:t>‹#›</a:t>
            </a:fld>
            <a:endParaRPr lang="en-US"/>
          </a:p>
        </p:txBody>
      </p:sp>
    </p:spTree>
    <p:extLst>
      <p:ext uri="{BB962C8B-B14F-4D97-AF65-F5344CB8AC3E}">
        <p14:creationId xmlns:p14="http://schemas.microsoft.com/office/powerpoint/2010/main" val="21858178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5" name="Rectangle 6"/>
          <p:cNvSpPr>
            <a:spLocks noGrp="1" noChangeArrowheads="1"/>
          </p:cNvSpPr>
          <p:nvPr>
            <p:ph type="sldNum" sz="quarter" idx="12"/>
          </p:nvPr>
        </p:nvSpPr>
        <p:spPr>
          <a:ln/>
        </p:spPr>
        <p:txBody>
          <a:bodyPr/>
          <a:lstStyle>
            <a:lvl1pPr>
              <a:defRPr/>
            </a:lvl1pPr>
          </a:lstStyle>
          <a:p>
            <a:pPr>
              <a:defRPr/>
            </a:pPr>
            <a:fld id="{6B168FDF-A39E-49F4-9448-E0C5E766608A}" type="slidenum">
              <a:rPr lang="en-US"/>
              <a:pPr>
                <a:defRPr/>
              </a:pPr>
              <a:t>‹#›</a:t>
            </a:fld>
            <a:endParaRPr lang="en-US"/>
          </a:p>
        </p:txBody>
      </p:sp>
    </p:spTree>
    <p:extLst>
      <p:ext uri="{BB962C8B-B14F-4D97-AF65-F5344CB8AC3E}">
        <p14:creationId xmlns:p14="http://schemas.microsoft.com/office/powerpoint/2010/main" val="12574776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4" name="Rectangle 6"/>
          <p:cNvSpPr>
            <a:spLocks noGrp="1" noChangeArrowheads="1"/>
          </p:cNvSpPr>
          <p:nvPr>
            <p:ph type="sldNum" sz="quarter" idx="12"/>
          </p:nvPr>
        </p:nvSpPr>
        <p:spPr>
          <a:ln/>
        </p:spPr>
        <p:txBody>
          <a:bodyPr/>
          <a:lstStyle>
            <a:lvl1pPr>
              <a:defRPr/>
            </a:lvl1pPr>
          </a:lstStyle>
          <a:p>
            <a:pPr>
              <a:defRPr/>
            </a:pPr>
            <a:fld id="{DF22874C-5045-49D1-80C1-F8C500DFC8E3}" type="slidenum">
              <a:rPr lang="en-US"/>
              <a:pPr>
                <a:defRPr/>
              </a:pPr>
              <a:t>‹#›</a:t>
            </a:fld>
            <a:endParaRPr lang="en-US"/>
          </a:p>
        </p:txBody>
      </p:sp>
    </p:spTree>
    <p:extLst>
      <p:ext uri="{BB962C8B-B14F-4D97-AF65-F5344CB8AC3E}">
        <p14:creationId xmlns:p14="http://schemas.microsoft.com/office/powerpoint/2010/main" val="35417459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ABDC5BC0-47CE-42FD-A480-222F7DCD8F20}" type="slidenum">
              <a:rPr lang="en-US"/>
              <a:pPr>
                <a:defRPr/>
              </a:pPr>
              <a:t>‹#›</a:t>
            </a:fld>
            <a:endParaRPr lang="en-US"/>
          </a:p>
        </p:txBody>
      </p:sp>
    </p:spTree>
    <p:extLst>
      <p:ext uri="{BB962C8B-B14F-4D97-AF65-F5344CB8AC3E}">
        <p14:creationId xmlns:p14="http://schemas.microsoft.com/office/powerpoint/2010/main" val="19295700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Name of presentation</a:t>
            </a:r>
          </a:p>
        </p:txBody>
      </p:sp>
      <p:sp>
        <p:nvSpPr>
          <p:cNvPr id="7" name="Rectangle 6"/>
          <p:cNvSpPr>
            <a:spLocks noGrp="1" noChangeArrowheads="1"/>
          </p:cNvSpPr>
          <p:nvPr>
            <p:ph type="sldNum" sz="quarter" idx="12"/>
          </p:nvPr>
        </p:nvSpPr>
        <p:spPr>
          <a:ln/>
        </p:spPr>
        <p:txBody>
          <a:bodyPr/>
          <a:lstStyle>
            <a:lvl1pPr>
              <a:defRPr/>
            </a:lvl1pPr>
          </a:lstStyle>
          <a:p>
            <a:pPr>
              <a:defRPr/>
            </a:pPr>
            <a:fld id="{CCD8DEE6-E97F-4EE8-A2D1-4475D931C71E}" type="slidenum">
              <a:rPr lang="en-US"/>
              <a:pPr>
                <a:defRPr/>
              </a:pPr>
              <a:t>‹#›</a:t>
            </a:fld>
            <a:endParaRPr lang="en-US"/>
          </a:p>
        </p:txBody>
      </p:sp>
    </p:spTree>
    <p:extLst>
      <p:ext uri="{BB962C8B-B14F-4D97-AF65-F5344CB8AC3E}">
        <p14:creationId xmlns:p14="http://schemas.microsoft.com/office/powerpoint/2010/main" val="684988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w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image" Target="../media/image1.w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10.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theme" Target="../theme/theme1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image" Target="../media/image1.w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heme" Target="../theme/theme12.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image" Target="../media/image1.w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heme" Target="../theme/theme13.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image" Target="../media/image1.w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14.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1.w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theme" Target="../theme/theme15.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image" Target="../media/image1.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w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w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wmf"/><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w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w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w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8.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1.w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9.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5890FF7C-EEB2-49AE-BE83-13A07E1C6A31}"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775482"/>
      </p:ext>
    </p:extLst>
  </p:cSld>
  <p:clrMap bg1="dk2" tx1="lt1" bg2="dk1"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951"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60419"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latin typeface="Arial" charset="0"/>
                <a:cs typeface="+mn-cs"/>
              </a:defRPr>
            </a:lvl1pPr>
          </a:lstStyle>
          <a:p>
            <a:pPr fontAlgn="base">
              <a:spcBef>
                <a:spcPct val="0"/>
              </a:spcBef>
              <a:spcAft>
                <a:spcPct val="0"/>
              </a:spcAft>
              <a:defRPr/>
            </a:pPr>
            <a:endParaRPr lang="en-GB"/>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charset="0"/>
                <a:cs typeface="+mn-cs"/>
              </a:defRPr>
            </a:lvl1pPr>
          </a:lstStyle>
          <a:p>
            <a:pPr fontAlgn="base">
              <a:spcBef>
                <a:spcPct val="0"/>
              </a:spcBef>
              <a:spcAft>
                <a:spcPct val="0"/>
              </a:spcAft>
              <a:defRPr/>
            </a:pPr>
            <a:fld id="{BF406D6A-DD6B-42C1-A735-985B5B0E519E}" type="slidenum">
              <a:rPr lang="en-GB"/>
              <a:pPr fontAlgn="base">
                <a:spcBef>
                  <a:spcPct val="0"/>
                </a:spcBef>
                <a:spcAft>
                  <a:spcPct val="0"/>
                </a:spcAft>
                <a:defRPr/>
              </a:pPr>
              <a:t>‹#›</a:t>
            </a:fld>
            <a:endParaRPr lang="en-GB"/>
          </a:p>
        </p:txBody>
      </p:sp>
      <p:pic>
        <p:nvPicPr>
          <p:cNvPr id="60422"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25"/>
          <p:cNvSpPr txBox="1">
            <a:spLocks noChangeArrowheads="1"/>
          </p:cNvSpPr>
          <p:nvPr/>
        </p:nvSpPr>
        <p:spPr bwMode="auto">
          <a:xfrm>
            <a:off x="-2327275" y="6313488"/>
            <a:ext cx="2197100" cy="30480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r" eaLnBrk="1" fontAlgn="base" hangingPunct="1">
              <a:spcBef>
                <a:spcPct val="50000"/>
              </a:spcBef>
              <a:spcAft>
                <a:spcPct val="0"/>
              </a:spcAft>
              <a:defRPr/>
            </a:pPr>
            <a:r>
              <a:rPr lang="en-GB" sz="1000" smtClean="0">
                <a:solidFill>
                  <a:srgbClr val="FFFFFF"/>
                </a:solidFill>
                <a:cs typeface="Arial" pitchFamily="34" charset="0"/>
              </a:rPr>
              <a:t>Add presentation information via View/Header and Footer</a:t>
            </a:r>
          </a:p>
        </p:txBody>
      </p:sp>
      <p:grpSp>
        <p:nvGrpSpPr>
          <p:cNvPr id="60424" name="Group 26"/>
          <p:cNvGrpSpPr>
            <a:grpSpLocks/>
          </p:cNvGrpSpPr>
          <p:nvPr/>
        </p:nvGrpSpPr>
        <p:grpSpPr bwMode="auto">
          <a:xfrm>
            <a:off x="-2327275" y="3068638"/>
            <a:ext cx="2197100" cy="728662"/>
            <a:chOff x="-1466" y="867"/>
            <a:chExt cx="1384" cy="459"/>
          </a:xfrm>
        </p:grpSpPr>
        <p:pic>
          <p:nvPicPr>
            <p:cNvPr id="60425" name="Picture 27"/>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86" y="1188"/>
              <a:ext cx="300" cy="13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4" name="Text Box 28"/>
            <p:cNvSpPr txBox="1">
              <a:spLocks noChangeArrowheads="1"/>
            </p:cNvSpPr>
            <p:nvPr userDrawn="1"/>
          </p:nvSpPr>
          <p:spPr bwMode="auto">
            <a:xfrm>
              <a:off x="-1466" y="867"/>
              <a:ext cx="1384" cy="28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r" eaLnBrk="1" fontAlgn="base" hangingPunct="1">
                <a:spcBef>
                  <a:spcPct val="50000"/>
                </a:spcBef>
                <a:spcAft>
                  <a:spcPct val="0"/>
                </a:spcAft>
                <a:defRPr/>
              </a:pPr>
              <a:r>
                <a:rPr lang="en-GB" sz="1000" smtClean="0">
                  <a:solidFill>
                    <a:srgbClr val="FFFFFF"/>
                  </a:solidFill>
                  <a:cs typeface="Arial" pitchFamily="34" charset="0"/>
                </a:rPr>
                <a:t>To add pre-formatted bullets please use the increase/decrease indent buttons found in the PowerPoint menu </a:t>
              </a:r>
            </a:p>
          </p:txBody>
        </p:sp>
      </p:grpSp>
    </p:spTree>
    <p:extLst>
      <p:ext uri="{BB962C8B-B14F-4D97-AF65-F5344CB8AC3E}">
        <p14:creationId xmlns:p14="http://schemas.microsoft.com/office/powerpoint/2010/main" val="2697209419"/>
      </p:ext>
    </p:extLst>
  </p:cSld>
  <p:clrMap bg1="dk2" tx1="lt1" bg2="dk1"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Lst>
  <p:hf hdr="0" ft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charset="0"/>
        </a:defRPr>
      </a:lvl2pPr>
      <a:lvl3pPr algn="l" rtl="0" eaLnBrk="0" fontAlgn="base" hangingPunct="0">
        <a:lnSpc>
          <a:spcPct val="96000"/>
        </a:lnSpc>
        <a:spcBef>
          <a:spcPct val="0"/>
        </a:spcBef>
        <a:spcAft>
          <a:spcPct val="0"/>
        </a:spcAft>
        <a:defRPr sz="2400">
          <a:solidFill>
            <a:schemeClr val="bg1"/>
          </a:solidFill>
          <a:latin typeface="Arial" charset="0"/>
        </a:defRPr>
      </a:lvl3pPr>
      <a:lvl4pPr algn="l" rtl="0" eaLnBrk="0" fontAlgn="base" hangingPunct="0">
        <a:lnSpc>
          <a:spcPct val="96000"/>
        </a:lnSpc>
        <a:spcBef>
          <a:spcPct val="0"/>
        </a:spcBef>
        <a:spcAft>
          <a:spcPct val="0"/>
        </a:spcAft>
        <a:defRPr sz="2400">
          <a:solidFill>
            <a:schemeClr val="bg1"/>
          </a:solidFill>
          <a:latin typeface="Arial" charset="0"/>
        </a:defRPr>
      </a:lvl4pPr>
      <a:lvl5pPr algn="l" rtl="0" eaLnBrk="0" fontAlgn="base" hangingPunct="0">
        <a:lnSpc>
          <a:spcPct val="96000"/>
        </a:lnSpc>
        <a:spcBef>
          <a:spcPct val="0"/>
        </a:spcBef>
        <a:spcAft>
          <a:spcPct val="0"/>
        </a:spcAft>
        <a:defRPr sz="2400">
          <a:solidFill>
            <a:schemeClr val="bg1"/>
          </a:solidFill>
          <a:latin typeface="Arial" charset="0"/>
        </a:defRPr>
      </a:lvl5pPr>
      <a:lvl6pPr marL="457200" algn="l" rtl="0" fontAlgn="base">
        <a:lnSpc>
          <a:spcPct val="96000"/>
        </a:lnSpc>
        <a:spcBef>
          <a:spcPct val="0"/>
        </a:spcBef>
        <a:spcAft>
          <a:spcPct val="0"/>
        </a:spcAft>
        <a:defRPr sz="2400">
          <a:solidFill>
            <a:schemeClr val="bg1"/>
          </a:solidFill>
          <a:latin typeface="Arial" charset="0"/>
        </a:defRPr>
      </a:lvl6pPr>
      <a:lvl7pPr marL="914400" algn="l" rtl="0" fontAlgn="base">
        <a:lnSpc>
          <a:spcPct val="96000"/>
        </a:lnSpc>
        <a:spcBef>
          <a:spcPct val="0"/>
        </a:spcBef>
        <a:spcAft>
          <a:spcPct val="0"/>
        </a:spcAft>
        <a:defRPr sz="2400">
          <a:solidFill>
            <a:schemeClr val="bg1"/>
          </a:solidFill>
          <a:latin typeface="Arial" charset="0"/>
        </a:defRPr>
      </a:lvl7pPr>
      <a:lvl8pPr marL="1371600" algn="l" rtl="0" fontAlgn="base">
        <a:lnSpc>
          <a:spcPct val="96000"/>
        </a:lnSpc>
        <a:spcBef>
          <a:spcPct val="0"/>
        </a:spcBef>
        <a:spcAft>
          <a:spcPct val="0"/>
        </a:spcAft>
        <a:defRPr sz="2400">
          <a:solidFill>
            <a:schemeClr val="bg1"/>
          </a:solidFill>
          <a:latin typeface="Arial" charset="0"/>
        </a:defRPr>
      </a:lvl8pPr>
      <a:lvl9pPr marL="1828800" algn="l" rtl="0" fontAlgn="base">
        <a:lnSpc>
          <a:spcPct val="96000"/>
        </a:lnSpc>
        <a:spcBef>
          <a:spcPct val="0"/>
        </a:spcBef>
        <a:spcAft>
          <a:spcPct val="0"/>
        </a:spcAft>
        <a:defRPr sz="2400">
          <a:solidFill>
            <a:schemeClr val="bg1"/>
          </a:solidFill>
          <a:latin typeface="Arial"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US"/>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US">
                <a:solidFill>
                  <a:srgbClr val="000000"/>
                </a:solidFill>
              </a:rPr>
              <a:t>Name of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CB9952E6-4FCA-4B86-A573-6C1EA9E979F8}" type="slidenum">
              <a:rPr lang="en-US">
                <a:solidFill>
                  <a:srgbClr val="000000"/>
                </a:solidFill>
              </a:rPr>
              <a:pPr fontAlgn="base">
                <a:spcBef>
                  <a:spcPct val="0"/>
                </a:spcBef>
                <a:spcAft>
                  <a:spcPct val="0"/>
                </a:spcAft>
                <a:defRPr/>
              </a:pPr>
              <a:t>‹#›</a:t>
            </a:fld>
            <a:endParaRPr lang="en-US">
              <a:solidFill>
                <a:srgbClr val="000000"/>
              </a:solidFill>
            </a:endParaRPr>
          </a:p>
        </p:txBody>
      </p:sp>
      <p:pic>
        <p:nvPicPr>
          <p:cNvPr id="103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805299"/>
      </p:ext>
    </p:extLst>
  </p:cSld>
  <p:clrMap bg1="dk2" tx1="lt1" bg2="dk1" tx2="lt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US"/>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US">
                <a:solidFill>
                  <a:srgbClr val="000000"/>
                </a:solidFill>
              </a:rPr>
              <a:t>Name of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CB9952E6-4FCA-4B86-A573-6C1EA9E979F8}" type="slidenum">
              <a:rPr lang="en-US">
                <a:solidFill>
                  <a:srgbClr val="000000"/>
                </a:solidFill>
              </a:rPr>
              <a:pPr fontAlgn="base">
                <a:spcBef>
                  <a:spcPct val="0"/>
                </a:spcBef>
                <a:spcAft>
                  <a:spcPct val="0"/>
                </a:spcAft>
                <a:defRPr/>
              </a:pPr>
              <a:t>‹#›</a:t>
            </a:fld>
            <a:endParaRPr lang="en-US">
              <a:solidFill>
                <a:srgbClr val="000000"/>
              </a:solidFill>
            </a:endParaRPr>
          </a:p>
        </p:txBody>
      </p:sp>
      <p:pic>
        <p:nvPicPr>
          <p:cNvPr id="103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9546823"/>
      </p:ext>
    </p:extLst>
  </p:cSld>
  <p:clrMap bg1="dk2" tx1="lt1" bg2="dk1" tx2="lt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US"/>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US">
                <a:solidFill>
                  <a:srgbClr val="000000"/>
                </a:solidFill>
              </a:rPr>
              <a:t>Name of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CB9952E6-4FCA-4B86-A573-6C1EA9E979F8}" type="slidenum">
              <a:rPr lang="en-US">
                <a:solidFill>
                  <a:srgbClr val="000000"/>
                </a:solidFill>
              </a:rPr>
              <a:pPr fontAlgn="base">
                <a:spcBef>
                  <a:spcPct val="0"/>
                </a:spcBef>
                <a:spcAft>
                  <a:spcPct val="0"/>
                </a:spcAft>
                <a:defRPr/>
              </a:pPr>
              <a:t>‹#›</a:t>
            </a:fld>
            <a:endParaRPr lang="en-US">
              <a:solidFill>
                <a:srgbClr val="000000"/>
              </a:solidFill>
            </a:endParaRPr>
          </a:p>
        </p:txBody>
      </p:sp>
      <p:pic>
        <p:nvPicPr>
          <p:cNvPr id="103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7481461"/>
      </p:ext>
    </p:extLst>
  </p:cSld>
  <p:clrMap bg1="dk2" tx1="lt1" bg2="dk1" tx2="lt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cs typeface="+mn-cs"/>
              </a:defRPr>
            </a:lvl1pPr>
          </a:lstStyle>
          <a:p>
            <a:pPr fontAlgn="base">
              <a:spcBef>
                <a:spcPct val="0"/>
              </a:spcBef>
              <a:spcAft>
                <a:spcPct val="0"/>
              </a:spcAft>
              <a:defRPr/>
            </a:pPr>
            <a:endParaRPr lang="en-US"/>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cs typeface="+mn-cs"/>
              </a:defRPr>
            </a:lvl1pPr>
          </a:lstStyle>
          <a:p>
            <a:pPr fontAlgn="base">
              <a:spcBef>
                <a:spcPct val="0"/>
              </a:spcBef>
              <a:spcAft>
                <a:spcPct val="0"/>
              </a:spcAft>
              <a:defRPr/>
            </a:pPr>
            <a:r>
              <a:rPr lang="en-US">
                <a:solidFill>
                  <a:srgbClr val="000000"/>
                </a:solidFill>
              </a:rPr>
              <a:t>Name of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cs typeface="+mn-cs"/>
              </a:defRPr>
            </a:lvl1pPr>
          </a:lstStyle>
          <a:p>
            <a:pPr fontAlgn="base">
              <a:spcBef>
                <a:spcPct val="0"/>
              </a:spcBef>
              <a:spcAft>
                <a:spcPct val="0"/>
              </a:spcAft>
              <a:defRPr/>
            </a:pPr>
            <a:fld id="{235A2B3F-04AE-44E6-988C-062BF46B1729}" type="slidenum">
              <a:rPr lang="en-US">
                <a:solidFill>
                  <a:srgbClr val="000000"/>
                </a:solidFill>
              </a:rPr>
              <a:pPr fontAlgn="base">
                <a:spcBef>
                  <a:spcPct val="0"/>
                </a:spcBef>
                <a:spcAft>
                  <a:spcPct val="0"/>
                </a:spcAft>
                <a:defRPr/>
              </a:pPr>
              <a:t>‹#›</a:t>
            </a:fld>
            <a:endParaRPr lang="en-US">
              <a:solidFill>
                <a:srgbClr val="000000"/>
              </a:solidFill>
            </a:endParaRPr>
          </a:p>
        </p:txBody>
      </p:sp>
      <p:pic>
        <p:nvPicPr>
          <p:cNvPr id="103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6453874"/>
      </p:ext>
    </p:extLst>
  </p:cSld>
  <p:clrMap bg1="dk2" tx1="lt1" bg2="dk1" tx2="lt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charset="0"/>
        </a:defRPr>
      </a:lvl2pPr>
      <a:lvl3pPr algn="l" rtl="0" eaLnBrk="0" fontAlgn="base" hangingPunct="0">
        <a:lnSpc>
          <a:spcPct val="96000"/>
        </a:lnSpc>
        <a:spcBef>
          <a:spcPct val="0"/>
        </a:spcBef>
        <a:spcAft>
          <a:spcPct val="0"/>
        </a:spcAft>
        <a:defRPr sz="2400">
          <a:solidFill>
            <a:schemeClr val="bg1"/>
          </a:solidFill>
          <a:latin typeface="Arial" charset="0"/>
        </a:defRPr>
      </a:lvl3pPr>
      <a:lvl4pPr algn="l" rtl="0" eaLnBrk="0" fontAlgn="base" hangingPunct="0">
        <a:lnSpc>
          <a:spcPct val="96000"/>
        </a:lnSpc>
        <a:spcBef>
          <a:spcPct val="0"/>
        </a:spcBef>
        <a:spcAft>
          <a:spcPct val="0"/>
        </a:spcAft>
        <a:defRPr sz="2400">
          <a:solidFill>
            <a:schemeClr val="bg1"/>
          </a:solidFill>
          <a:latin typeface="Arial" charset="0"/>
        </a:defRPr>
      </a:lvl4pPr>
      <a:lvl5pPr algn="l" rtl="0" eaLnBrk="0" fontAlgn="base" hangingPunct="0">
        <a:lnSpc>
          <a:spcPct val="96000"/>
        </a:lnSpc>
        <a:spcBef>
          <a:spcPct val="0"/>
        </a:spcBef>
        <a:spcAft>
          <a:spcPct val="0"/>
        </a:spcAft>
        <a:defRPr sz="2400">
          <a:solidFill>
            <a:schemeClr val="bg1"/>
          </a:solidFill>
          <a:latin typeface="Arial" charset="0"/>
        </a:defRPr>
      </a:lvl5pPr>
      <a:lvl6pPr marL="457200" algn="l" rtl="0" eaLnBrk="1" fontAlgn="base" hangingPunct="1">
        <a:lnSpc>
          <a:spcPct val="96000"/>
        </a:lnSpc>
        <a:spcBef>
          <a:spcPct val="0"/>
        </a:spcBef>
        <a:spcAft>
          <a:spcPct val="0"/>
        </a:spcAft>
        <a:defRPr sz="2400">
          <a:solidFill>
            <a:schemeClr val="bg1"/>
          </a:solidFill>
          <a:latin typeface="Arial" charset="0"/>
        </a:defRPr>
      </a:lvl6pPr>
      <a:lvl7pPr marL="914400" algn="l" rtl="0" eaLnBrk="1" fontAlgn="base" hangingPunct="1">
        <a:lnSpc>
          <a:spcPct val="96000"/>
        </a:lnSpc>
        <a:spcBef>
          <a:spcPct val="0"/>
        </a:spcBef>
        <a:spcAft>
          <a:spcPct val="0"/>
        </a:spcAft>
        <a:defRPr sz="2400">
          <a:solidFill>
            <a:schemeClr val="bg1"/>
          </a:solidFill>
          <a:latin typeface="Arial" charset="0"/>
        </a:defRPr>
      </a:lvl7pPr>
      <a:lvl8pPr marL="1371600" algn="l" rtl="0" eaLnBrk="1" fontAlgn="base" hangingPunct="1">
        <a:lnSpc>
          <a:spcPct val="96000"/>
        </a:lnSpc>
        <a:spcBef>
          <a:spcPct val="0"/>
        </a:spcBef>
        <a:spcAft>
          <a:spcPct val="0"/>
        </a:spcAft>
        <a:defRPr sz="2400">
          <a:solidFill>
            <a:schemeClr val="bg1"/>
          </a:solidFill>
          <a:latin typeface="Arial" charset="0"/>
        </a:defRPr>
      </a:lvl8pPr>
      <a:lvl9pPr marL="1828800" algn="l" rtl="0" eaLnBrk="1" fontAlgn="base" hangingPunct="1">
        <a:lnSpc>
          <a:spcPct val="96000"/>
        </a:lnSpc>
        <a:spcBef>
          <a:spcPct val="0"/>
        </a:spcBef>
        <a:spcAft>
          <a:spcPct val="0"/>
        </a:spcAft>
        <a:defRPr sz="2400">
          <a:solidFill>
            <a:schemeClr val="bg1"/>
          </a:solidFill>
          <a:latin typeface="Arial"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eaLnBrk="1" fontAlgn="base" hangingPunct="1">
        <a:spcBef>
          <a:spcPct val="20000"/>
        </a:spcBef>
        <a:spcAft>
          <a:spcPct val="0"/>
        </a:spcAft>
        <a:buFont typeface="Arial Unicode MS" pitchFamily="34" charset="-128"/>
        <a:buChar char="ￚ"/>
        <a:defRPr sz="1400">
          <a:solidFill>
            <a:schemeClr val="bg1"/>
          </a:solidFill>
          <a:latin typeface="+mn-lt"/>
        </a:defRPr>
      </a:lvl6pPr>
      <a:lvl7pPr marL="1622425" indent="-163513" algn="l" rtl="0" eaLnBrk="1" fontAlgn="base" hangingPunct="1">
        <a:spcBef>
          <a:spcPct val="20000"/>
        </a:spcBef>
        <a:spcAft>
          <a:spcPct val="0"/>
        </a:spcAft>
        <a:buFont typeface="Arial Unicode MS" pitchFamily="34" charset="-128"/>
        <a:buChar char="ￚ"/>
        <a:defRPr sz="1400">
          <a:solidFill>
            <a:schemeClr val="bg1"/>
          </a:solidFill>
          <a:latin typeface="+mn-lt"/>
        </a:defRPr>
      </a:lvl7pPr>
      <a:lvl8pPr marL="2079625" indent="-163513" algn="l" rtl="0" eaLnBrk="1" fontAlgn="base" hangingPunct="1">
        <a:spcBef>
          <a:spcPct val="20000"/>
        </a:spcBef>
        <a:spcAft>
          <a:spcPct val="0"/>
        </a:spcAft>
        <a:buFont typeface="Arial Unicode MS" pitchFamily="34" charset="-128"/>
        <a:buChar char="ￚ"/>
        <a:defRPr sz="1400">
          <a:solidFill>
            <a:schemeClr val="bg1"/>
          </a:solidFill>
          <a:latin typeface="+mn-lt"/>
        </a:defRPr>
      </a:lvl8pPr>
      <a:lvl9pPr marL="2536825" indent="-163513" algn="l" rtl="0" eaLnBrk="1" fontAlgn="base" hangingPunct="1">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GMCI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4746D87D-6336-4091-B868-4FDD5EAB69E2}"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9106119"/>
      </p:ext>
    </p:extLst>
  </p:cSld>
  <p:clrMap bg1="dk2" tx1="lt1" bg2="dk1" tx2="lt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5890FF7C-EEB2-49AE-BE83-13A07E1C6A31}"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3430577"/>
      </p:ext>
    </p:extLst>
  </p:cSld>
  <p:clrMap bg1="dk2" tx1="lt1" bg2="dk1"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5890FF7C-EEB2-49AE-BE83-13A07E1C6A31}"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3828745"/>
      </p:ext>
    </p:extLst>
  </p:cSld>
  <p:clrMap bg1="dk2" tx1="lt1" bg2="dk1"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3075"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latin typeface="Arial" pitchFamily="34" charset="0"/>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pitchFamily="34" charset="0"/>
              </a:defRPr>
            </a:lvl1pPr>
          </a:lstStyle>
          <a:p>
            <a:pPr fontAlgn="base">
              <a:spcBef>
                <a:spcPct val="0"/>
              </a:spcBef>
              <a:spcAft>
                <a:spcPct val="0"/>
              </a:spcAft>
              <a:defRPr/>
            </a:pPr>
            <a:r>
              <a:rPr lang="en-GB"/>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pitchFamily="34" charset="0"/>
              </a:defRPr>
            </a:lvl1pPr>
          </a:lstStyle>
          <a:p>
            <a:pPr fontAlgn="base">
              <a:spcBef>
                <a:spcPct val="0"/>
              </a:spcBef>
              <a:spcAft>
                <a:spcPct val="0"/>
              </a:spcAft>
              <a:defRPr/>
            </a:pPr>
            <a:fld id="{6623F94D-F558-473F-BAAF-207B9589638E}" type="slidenum">
              <a:rPr lang="en-GB"/>
              <a:pPr fontAlgn="base">
                <a:spcBef>
                  <a:spcPct val="0"/>
                </a:spcBef>
                <a:spcAft>
                  <a:spcPct val="0"/>
                </a:spcAft>
                <a:defRPr/>
              </a:pPr>
              <a:t>‹#›</a:t>
            </a:fld>
            <a:endParaRPr lang="en-GB"/>
          </a:p>
        </p:txBody>
      </p:sp>
      <p:pic>
        <p:nvPicPr>
          <p:cNvPr id="3079"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5891733"/>
      </p:ext>
    </p:extLst>
  </p:cSld>
  <p:clrMap bg1="dk2" tx1="lt1" bg2="dk1" tx2="lt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5890FF7C-EEB2-49AE-BE83-13A07E1C6A31}"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5904262"/>
      </p:ext>
    </p:extLst>
  </p:cSld>
  <p:clrMap bg1="dk2" tx1="lt1" bg2="dk1"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5890FF7C-EEB2-49AE-BE83-13A07E1C6A31}"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2474723"/>
      </p:ext>
    </p:extLst>
  </p:cSld>
  <p:clrMap bg1="dk2" tx1="lt1" bg2="dk1"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5900" y="246063"/>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defRPr>
            </a:lvl1pPr>
          </a:lstStyle>
          <a:p>
            <a:pPr fontAlgn="base">
              <a:spcBef>
                <a:spcPct val="0"/>
              </a:spcBef>
              <a:spcAft>
                <a:spcPct val="0"/>
              </a:spcAft>
              <a:defRPr/>
            </a:pPr>
            <a:endParaRPr lang="en-GB"/>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r>
              <a:rPr lang="en-GB">
                <a:solidFill>
                  <a:srgbClr val="000000"/>
                </a:solidFill>
              </a:rPr>
              <a:t> Vestas Corporate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lvl1pPr>
          </a:lstStyle>
          <a:p>
            <a:pPr fontAlgn="base">
              <a:spcBef>
                <a:spcPct val="0"/>
              </a:spcBef>
              <a:spcAft>
                <a:spcPct val="0"/>
              </a:spcAft>
              <a:defRPr/>
            </a:pPr>
            <a:fld id="{5890FF7C-EEB2-49AE-BE83-13A07E1C6A31}" type="slidenum">
              <a:rPr lang="en-GB">
                <a:solidFill>
                  <a:srgbClr val="000000"/>
                </a:solidFill>
              </a:rPr>
              <a:pPr fontAlgn="base">
                <a:spcBef>
                  <a:spcPct val="0"/>
                </a:spcBef>
                <a:spcAft>
                  <a:spcPct val="0"/>
                </a:spcAft>
                <a:defRPr/>
              </a:pPr>
              <a:t>‹#›</a:t>
            </a:fld>
            <a:endParaRPr lang="en-GB">
              <a:solidFill>
                <a:srgbClr val="000000"/>
              </a:solidFill>
            </a:endParaRPr>
          </a:p>
        </p:txBody>
      </p:sp>
      <p:pic>
        <p:nvPicPr>
          <p:cNvPr id="1031" name="Picture 21" descr="Vestas_Tagline_small_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7971298"/>
      </p:ext>
    </p:extLst>
  </p:cSld>
  <p:clrMap bg1="dk2" tx1="lt1" bg2="dk1" tx2="lt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9219"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latin typeface="Arial" pitchFamily="34" charset="0"/>
              </a:defRPr>
            </a:lvl1pPr>
          </a:lstStyle>
          <a:p>
            <a:pPr fontAlgn="base">
              <a:spcBef>
                <a:spcPct val="0"/>
              </a:spcBef>
              <a:spcAft>
                <a:spcPct val="0"/>
              </a:spcAft>
              <a:defRPr/>
            </a:pPr>
            <a:endParaRPr lang="en-US"/>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pitchFamily="34" charset="0"/>
              </a:defRPr>
            </a:lvl1pPr>
          </a:lstStyle>
          <a:p>
            <a:pPr fontAlgn="base">
              <a:spcBef>
                <a:spcPct val="0"/>
              </a:spcBef>
              <a:spcAft>
                <a:spcPct val="0"/>
              </a:spcAft>
              <a:defRPr/>
            </a:pPr>
            <a:r>
              <a:rPr lang="en-US"/>
              <a:t>Name of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pitchFamily="34" charset="0"/>
              </a:defRPr>
            </a:lvl1pPr>
          </a:lstStyle>
          <a:p>
            <a:pPr fontAlgn="base">
              <a:spcBef>
                <a:spcPct val="0"/>
              </a:spcBef>
              <a:spcAft>
                <a:spcPct val="0"/>
              </a:spcAft>
              <a:defRPr/>
            </a:pPr>
            <a:fld id="{37D04C86-1122-41FC-9DAE-667BA1763F99}" type="slidenum">
              <a:rPr lang="en-US"/>
              <a:pPr fontAlgn="base">
                <a:spcBef>
                  <a:spcPct val="0"/>
                </a:spcBef>
                <a:spcAft>
                  <a:spcPct val="0"/>
                </a:spcAft>
                <a:defRPr/>
              </a:pPr>
              <a:t>‹#›</a:t>
            </a:fld>
            <a:endParaRPr lang="en-US"/>
          </a:p>
        </p:txBody>
      </p:sp>
      <p:pic>
        <p:nvPicPr>
          <p:cNvPr id="9223"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8069334"/>
      </p:ext>
    </p:extLst>
  </p:cSld>
  <p:clrMap bg1="dk2" tx1="lt1" bg2="dk1" tx2="lt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pitchFamily="34" charset="0"/>
        </a:defRPr>
      </a:lvl2pPr>
      <a:lvl3pPr algn="l" rtl="0" eaLnBrk="0" fontAlgn="base" hangingPunct="0">
        <a:lnSpc>
          <a:spcPct val="96000"/>
        </a:lnSpc>
        <a:spcBef>
          <a:spcPct val="0"/>
        </a:spcBef>
        <a:spcAft>
          <a:spcPct val="0"/>
        </a:spcAft>
        <a:defRPr sz="2400">
          <a:solidFill>
            <a:schemeClr val="bg1"/>
          </a:solidFill>
          <a:latin typeface="Arial" pitchFamily="34" charset="0"/>
        </a:defRPr>
      </a:lvl3pPr>
      <a:lvl4pPr algn="l" rtl="0" eaLnBrk="0" fontAlgn="base" hangingPunct="0">
        <a:lnSpc>
          <a:spcPct val="96000"/>
        </a:lnSpc>
        <a:spcBef>
          <a:spcPct val="0"/>
        </a:spcBef>
        <a:spcAft>
          <a:spcPct val="0"/>
        </a:spcAft>
        <a:defRPr sz="2400">
          <a:solidFill>
            <a:schemeClr val="bg1"/>
          </a:solidFill>
          <a:latin typeface="Arial" pitchFamily="34" charset="0"/>
        </a:defRPr>
      </a:lvl4pPr>
      <a:lvl5pPr algn="l" rtl="0" eaLnBrk="0" fontAlgn="base" hangingPunct="0">
        <a:lnSpc>
          <a:spcPct val="96000"/>
        </a:lnSpc>
        <a:spcBef>
          <a:spcPct val="0"/>
        </a:spcBef>
        <a:spcAft>
          <a:spcPct val="0"/>
        </a:spcAft>
        <a:defRPr sz="2400">
          <a:solidFill>
            <a:schemeClr val="bg1"/>
          </a:solidFill>
          <a:latin typeface="Arial" pitchFamily="34" charset="0"/>
        </a:defRPr>
      </a:lvl5pPr>
      <a:lvl6pPr marL="457200" algn="l" rtl="0" fontAlgn="base">
        <a:lnSpc>
          <a:spcPct val="96000"/>
        </a:lnSpc>
        <a:spcBef>
          <a:spcPct val="0"/>
        </a:spcBef>
        <a:spcAft>
          <a:spcPct val="0"/>
        </a:spcAft>
        <a:defRPr sz="2400">
          <a:solidFill>
            <a:schemeClr val="bg1"/>
          </a:solidFill>
          <a:latin typeface="Arial" pitchFamily="34" charset="0"/>
        </a:defRPr>
      </a:lvl6pPr>
      <a:lvl7pPr marL="914400" algn="l" rtl="0" fontAlgn="base">
        <a:lnSpc>
          <a:spcPct val="96000"/>
        </a:lnSpc>
        <a:spcBef>
          <a:spcPct val="0"/>
        </a:spcBef>
        <a:spcAft>
          <a:spcPct val="0"/>
        </a:spcAft>
        <a:defRPr sz="2400">
          <a:solidFill>
            <a:schemeClr val="bg1"/>
          </a:solidFill>
          <a:latin typeface="Arial" pitchFamily="34" charset="0"/>
        </a:defRPr>
      </a:lvl7pPr>
      <a:lvl8pPr marL="1371600" algn="l" rtl="0" fontAlgn="base">
        <a:lnSpc>
          <a:spcPct val="96000"/>
        </a:lnSpc>
        <a:spcBef>
          <a:spcPct val="0"/>
        </a:spcBef>
        <a:spcAft>
          <a:spcPct val="0"/>
        </a:spcAft>
        <a:defRPr sz="2400">
          <a:solidFill>
            <a:schemeClr val="bg1"/>
          </a:solidFill>
          <a:latin typeface="Arial" pitchFamily="34" charset="0"/>
        </a:defRPr>
      </a:lvl8pPr>
      <a:lvl9pPr marL="1828800" algn="l" rtl="0" fontAlgn="base">
        <a:lnSpc>
          <a:spcPct val="96000"/>
        </a:lnSpc>
        <a:spcBef>
          <a:spcPct val="0"/>
        </a:spcBef>
        <a:spcAft>
          <a:spcPct val="0"/>
        </a:spcAft>
        <a:defRPr sz="2400">
          <a:solidFill>
            <a:schemeClr val="bg1"/>
          </a:solidFill>
          <a:latin typeface="Arial" pitchFamily="34"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6387" name="Rectangle 3"/>
          <p:cNvSpPr>
            <a:spLocks noGrp="1" noChangeArrowheads="1"/>
          </p:cNvSpPr>
          <p:nvPr>
            <p:ph type="body" idx="1"/>
          </p:nvPr>
        </p:nvSpPr>
        <p:spPr bwMode="auto">
          <a:xfrm>
            <a:off x="215900" y="641350"/>
            <a:ext cx="8712200" cy="559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215900" y="6619875"/>
            <a:ext cx="2159000" cy="14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1200"/>
              </a:lnSpc>
              <a:defRPr sz="900">
                <a:solidFill>
                  <a:srgbClr val="FFFFFF"/>
                </a:solidFill>
                <a:latin typeface="Arial" charset="0"/>
              </a:defRPr>
            </a:lvl1pPr>
          </a:lstStyle>
          <a:p>
            <a:pPr fontAlgn="base">
              <a:spcBef>
                <a:spcPct val="0"/>
              </a:spcBef>
              <a:spcAft>
                <a:spcPct val="0"/>
              </a:spcAft>
              <a:defRPr/>
            </a:pPr>
            <a:endParaRPr lang="en-US"/>
          </a:p>
        </p:txBody>
      </p:sp>
      <p:sp>
        <p:nvSpPr>
          <p:cNvPr id="1029" name="Rectangle 5"/>
          <p:cNvSpPr>
            <a:spLocks noGrp="1" noChangeArrowheads="1"/>
          </p:cNvSpPr>
          <p:nvPr>
            <p:ph type="ftr" sz="quarter" idx="3"/>
          </p:nvPr>
        </p:nvSpPr>
        <p:spPr bwMode="auto">
          <a:xfrm>
            <a:off x="395288" y="6484938"/>
            <a:ext cx="6657975"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charset="0"/>
              </a:defRPr>
            </a:lvl1pPr>
          </a:lstStyle>
          <a:p>
            <a:pPr fontAlgn="base">
              <a:spcBef>
                <a:spcPct val="0"/>
              </a:spcBef>
              <a:spcAft>
                <a:spcPct val="0"/>
              </a:spcAft>
              <a:defRPr/>
            </a:pPr>
            <a:r>
              <a:rPr lang="en-US"/>
              <a:t>Name of presentation</a:t>
            </a:r>
          </a:p>
        </p:txBody>
      </p:sp>
      <p:sp>
        <p:nvSpPr>
          <p:cNvPr id="1030" name="Rectangle 6"/>
          <p:cNvSpPr>
            <a:spLocks noGrp="1" noChangeArrowheads="1"/>
          </p:cNvSpPr>
          <p:nvPr>
            <p:ph type="sldNum" sz="quarter" idx="4"/>
          </p:nvPr>
        </p:nvSpPr>
        <p:spPr bwMode="auto">
          <a:xfrm>
            <a:off x="215900" y="6484938"/>
            <a:ext cx="287338" cy="144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ts val="1200"/>
              </a:lnSpc>
              <a:defRPr sz="900">
                <a:solidFill>
                  <a:srgbClr val="000000"/>
                </a:solidFill>
                <a:latin typeface="Arial" charset="0"/>
              </a:defRPr>
            </a:lvl1pPr>
          </a:lstStyle>
          <a:p>
            <a:pPr fontAlgn="base">
              <a:spcBef>
                <a:spcPct val="0"/>
              </a:spcBef>
              <a:spcAft>
                <a:spcPct val="0"/>
              </a:spcAft>
              <a:defRPr/>
            </a:pPr>
            <a:fld id="{E0E19EAA-2A84-4146-994C-1F48AD80936F}" type="slidenum">
              <a:rPr lang="en-US"/>
              <a:pPr fontAlgn="base">
                <a:spcBef>
                  <a:spcPct val="0"/>
                </a:spcBef>
                <a:spcAft>
                  <a:spcPct val="0"/>
                </a:spcAft>
                <a:defRPr/>
              </a:pPr>
              <a:t>‹#›</a:t>
            </a:fld>
            <a:endParaRPr lang="en-US"/>
          </a:p>
        </p:txBody>
      </p:sp>
      <p:pic>
        <p:nvPicPr>
          <p:cNvPr id="16391" name="Picture 21" descr="Vestas_Tagline_small_black"/>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77088" y="6418263"/>
            <a:ext cx="1874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2608973"/>
      </p:ext>
    </p:extLst>
  </p:cSld>
  <p:clrMap bg1="dk2" tx1="lt1" bg2="dk1" tx2="lt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Lst>
  <p:hf hdr="0" dt="0"/>
  <p:txStyles>
    <p:title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charset="0"/>
        </a:defRPr>
      </a:lvl2pPr>
      <a:lvl3pPr algn="l" rtl="0" eaLnBrk="0" fontAlgn="base" hangingPunct="0">
        <a:lnSpc>
          <a:spcPct val="96000"/>
        </a:lnSpc>
        <a:spcBef>
          <a:spcPct val="0"/>
        </a:spcBef>
        <a:spcAft>
          <a:spcPct val="0"/>
        </a:spcAft>
        <a:defRPr sz="2400">
          <a:solidFill>
            <a:schemeClr val="bg1"/>
          </a:solidFill>
          <a:latin typeface="Arial" charset="0"/>
        </a:defRPr>
      </a:lvl3pPr>
      <a:lvl4pPr algn="l" rtl="0" eaLnBrk="0" fontAlgn="base" hangingPunct="0">
        <a:lnSpc>
          <a:spcPct val="96000"/>
        </a:lnSpc>
        <a:spcBef>
          <a:spcPct val="0"/>
        </a:spcBef>
        <a:spcAft>
          <a:spcPct val="0"/>
        </a:spcAft>
        <a:defRPr sz="2400">
          <a:solidFill>
            <a:schemeClr val="bg1"/>
          </a:solidFill>
          <a:latin typeface="Arial" charset="0"/>
        </a:defRPr>
      </a:lvl4pPr>
      <a:lvl5pPr algn="l" rtl="0" eaLnBrk="0" fontAlgn="base" hangingPunct="0">
        <a:lnSpc>
          <a:spcPct val="96000"/>
        </a:lnSpc>
        <a:spcBef>
          <a:spcPct val="0"/>
        </a:spcBef>
        <a:spcAft>
          <a:spcPct val="0"/>
        </a:spcAft>
        <a:defRPr sz="2400">
          <a:solidFill>
            <a:schemeClr val="bg1"/>
          </a:solidFill>
          <a:latin typeface="Arial" charset="0"/>
        </a:defRPr>
      </a:lvl5pPr>
      <a:lvl6pPr marL="457200" algn="l" rtl="0" fontAlgn="base">
        <a:lnSpc>
          <a:spcPct val="96000"/>
        </a:lnSpc>
        <a:spcBef>
          <a:spcPct val="0"/>
        </a:spcBef>
        <a:spcAft>
          <a:spcPct val="0"/>
        </a:spcAft>
        <a:defRPr sz="2400">
          <a:solidFill>
            <a:schemeClr val="bg1"/>
          </a:solidFill>
          <a:latin typeface="Arial" charset="0"/>
        </a:defRPr>
      </a:lvl6pPr>
      <a:lvl7pPr marL="914400" algn="l" rtl="0" fontAlgn="base">
        <a:lnSpc>
          <a:spcPct val="96000"/>
        </a:lnSpc>
        <a:spcBef>
          <a:spcPct val="0"/>
        </a:spcBef>
        <a:spcAft>
          <a:spcPct val="0"/>
        </a:spcAft>
        <a:defRPr sz="2400">
          <a:solidFill>
            <a:schemeClr val="bg1"/>
          </a:solidFill>
          <a:latin typeface="Arial" charset="0"/>
        </a:defRPr>
      </a:lvl7pPr>
      <a:lvl8pPr marL="1371600" algn="l" rtl="0" fontAlgn="base">
        <a:lnSpc>
          <a:spcPct val="96000"/>
        </a:lnSpc>
        <a:spcBef>
          <a:spcPct val="0"/>
        </a:spcBef>
        <a:spcAft>
          <a:spcPct val="0"/>
        </a:spcAft>
        <a:defRPr sz="2400">
          <a:solidFill>
            <a:schemeClr val="bg1"/>
          </a:solidFill>
          <a:latin typeface="Arial" charset="0"/>
        </a:defRPr>
      </a:lvl8pPr>
      <a:lvl9pPr marL="1828800" algn="l" rtl="0" fontAlgn="base">
        <a:lnSpc>
          <a:spcPct val="96000"/>
        </a:lnSpc>
        <a:spcBef>
          <a:spcPct val="0"/>
        </a:spcBef>
        <a:spcAft>
          <a:spcPct val="0"/>
        </a:spcAft>
        <a:defRPr sz="2400">
          <a:solidFill>
            <a:schemeClr val="bg1"/>
          </a:solidFill>
          <a:latin typeface="Arial" charset="0"/>
        </a:defRPr>
      </a:lvl9pPr>
    </p:titleStyle>
    <p:bodyStyle>
      <a:lvl1pPr marL="342900" indent="-342900" algn="l" rtl="0" eaLnBrk="0" fontAlgn="base" hangingPunct="0">
        <a:lnSpc>
          <a:spcPct val="97000"/>
        </a:lnSpc>
        <a:spcBef>
          <a:spcPct val="20000"/>
        </a:spcBef>
        <a:spcAft>
          <a:spcPct val="0"/>
        </a:spcAft>
        <a:defRPr>
          <a:solidFill>
            <a:schemeClr val="bg1"/>
          </a:solidFill>
          <a:latin typeface="+mn-lt"/>
          <a:ea typeface="+mn-ea"/>
          <a:cs typeface="+mn-cs"/>
        </a:defRPr>
      </a:lvl1pPr>
      <a:lvl2pPr marL="179388" indent="-177800" algn="l" rtl="0" eaLnBrk="0" fontAlgn="base" hangingPunct="0">
        <a:lnSpc>
          <a:spcPct val="99000"/>
        </a:lnSpc>
        <a:spcBef>
          <a:spcPct val="20000"/>
        </a:spcBef>
        <a:spcAft>
          <a:spcPct val="0"/>
        </a:spcAft>
        <a:buChar char="•"/>
        <a:defRPr sz="1600">
          <a:solidFill>
            <a:schemeClr val="bg1"/>
          </a:solidFill>
          <a:latin typeface="+mn-lt"/>
        </a:defRPr>
      </a:lvl2pPr>
      <a:lvl3pPr marL="354013" indent="-173038" algn="l" rtl="0" eaLnBrk="0" fontAlgn="base" hangingPunct="0">
        <a:spcBef>
          <a:spcPct val="20000"/>
        </a:spcBef>
        <a:spcAft>
          <a:spcPct val="0"/>
        </a:spcAft>
        <a:buFont typeface="Arial Unicode MS" pitchFamily="34" charset="-128"/>
        <a:buChar char="ￚ"/>
        <a:defRPr sz="1600">
          <a:solidFill>
            <a:schemeClr val="bg1"/>
          </a:solidFill>
          <a:latin typeface="+mn-lt"/>
        </a:defRPr>
      </a:lvl3pPr>
      <a:lvl4pPr marL="542925" indent="-187325" algn="l" rtl="0" eaLnBrk="0" fontAlgn="base" hangingPunct="0">
        <a:spcBef>
          <a:spcPct val="20000"/>
        </a:spcBef>
        <a:spcAft>
          <a:spcPct val="0"/>
        </a:spcAft>
        <a:buFont typeface="Arial Unicode MS" pitchFamily="34" charset="-128"/>
        <a:buChar char="ￚ"/>
        <a:defRPr sz="1400">
          <a:solidFill>
            <a:schemeClr val="bg1"/>
          </a:solidFill>
          <a:latin typeface="+mn-lt"/>
        </a:defRPr>
      </a:lvl4pPr>
      <a:lvl5pPr marL="708025" indent="-163513" algn="l" rtl="0" eaLnBrk="0" fontAlgn="base" hangingPunct="0">
        <a:spcBef>
          <a:spcPct val="20000"/>
        </a:spcBef>
        <a:spcAft>
          <a:spcPct val="0"/>
        </a:spcAft>
        <a:buFont typeface="Arial Unicode MS" pitchFamily="34" charset="-128"/>
        <a:buChar char="ￚ"/>
        <a:defRPr sz="1400">
          <a:solidFill>
            <a:schemeClr val="bg1"/>
          </a:solidFill>
          <a:latin typeface="+mn-lt"/>
        </a:defRPr>
      </a:lvl5pPr>
      <a:lvl6pPr marL="1165225" indent="-163513" algn="l" rtl="0" fontAlgn="base">
        <a:spcBef>
          <a:spcPct val="20000"/>
        </a:spcBef>
        <a:spcAft>
          <a:spcPct val="0"/>
        </a:spcAft>
        <a:buFont typeface="Arial Unicode MS" pitchFamily="34" charset="-128"/>
        <a:buChar char="ￚ"/>
        <a:defRPr sz="1400">
          <a:solidFill>
            <a:schemeClr val="bg1"/>
          </a:solidFill>
          <a:latin typeface="+mn-lt"/>
        </a:defRPr>
      </a:lvl6pPr>
      <a:lvl7pPr marL="1622425" indent="-163513" algn="l" rtl="0" fontAlgn="base">
        <a:spcBef>
          <a:spcPct val="20000"/>
        </a:spcBef>
        <a:spcAft>
          <a:spcPct val="0"/>
        </a:spcAft>
        <a:buFont typeface="Arial Unicode MS" pitchFamily="34" charset="-128"/>
        <a:buChar char="ￚ"/>
        <a:defRPr sz="1400">
          <a:solidFill>
            <a:schemeClr val="bg1"/>
          </a:solidFill>
          <a:latin typeface="+mn-lt"/>
        </a:defRPr>
      </a:lvl7pPr>
      <a:lvl8pPr marL="2079625" indent="-163513" algn="l" rtl="0" fontAlgn="base">
        <a:spcBef>
          <a:spcPct val="20000"/>
        </a:spcBef>
        <a:spcAft>
          <a:spcPct val="0"/>
        </a:spcAft>
        <a:buFont typeface="Arial Unicode MS" pitchFamily="34" charset="-128"/>
        <a:buChar char="ￚ"/>
        <a:defRPr sz="1400">
          <a:solidFill>
            <a:schemeClr val="bg1"/>
          </a:solidFill>
          <a:latin typeface="+mn-lt"/>
        </a:defRPr>
      </a:lvl8pPr>
      <a:lvl9pPr marL="2536825" indent="-163513" algn="l" rtl="0" fontAlgn="base">
        <a:spcBef>
          <a:spcPct val="20000"/>
        </a:spcBef>
        <a:spcAft>
          <a:spcPct val="0"/>
        </a:spcAft>
        <a:buFont typeface="Arial Unicode MS" pitchFamily="34" charset="-128"/>
        <a:buChar char="ￚ"/>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wmf"/><Relationship Id="rId5" Type="http://schemas.openxmlformats.org/officeDocument/2006/relationships/image" Target="../media/image2.wmf"/><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package" Target="../embeddings/Microsoft_Excel_Worksheet1.xlsx"/></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35.emf"/><Relationship Id="rId4" Type="http://schemas.openxmlformats.org/officeDocument/2006/relationships/package" Target="../embeddings/Microsoft_Excel_Worksheet2.xlsx"/></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36.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vmlDrawing" Target="../drawings/vmlDrawing5.vml"/><Relationship Id="rId6" Type="http://schemas.openxmlformats.org/officeDocument/2006/relationships/image" Target="../media/image39.emf"/><Relationship Id="rId5" Type="http://schemas.openxmlformats.org/officeDocument/2006/relationships/oleObject" Target="../embeddings/oleObject6.bin"/><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1.xml"/><Relationship Id="rId7" Type="http://schemas.openxmlformats.org/officeDocument/2006/relationships/image" Target="../media/image40.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12.xml"/><Relationship Id="rId9" Type="http://schemas.microsoft.com/office/2007/relationships/hdphoto" Target="../media/hdphoto1.wdp"/></Relationships>
</file>

<file path=ppt/slides/_rels/slide19.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43.jpe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42.emf"/><Relationship Id="rId2" Type="http://schemas.openxmlformats.org/officeDocument/2006/relationships/tags" Target="../tags/tag12.xml"/><Relationship Id="rId16" Type="http://schemas.openxmlformats.org/officeDocument/2006/relationships/oleObject" Target="../embeddings/oleObject8.bin"/><Relationship Id="rId1" Type="http://schemas.openxmlformats.org/officeDocument/2006/relationships/vmlDrawing" Target="../drawings/vmlDrawing7.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notesSlide" Target="../notesSlides/notesSlide10.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24.xml"/><Relationship Id="rId5" Type="http://schemas.openxmlformats.org/officeDocument/2006/relationships/image" Target="../media/image48.jpeg"/><Relationship Id="rId4" Type="http://schemas.openxmlformats.org/officeDocument/2006/relationships/image" Target="../media/image47.jpe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9.jpeg"/><Relationship Id="rId7" Type="http://schemas.openxmlformats.org/officeDocument/2006/relationships/image" Target="../media/image51.wmf"/><Relationship Id="rId2" Type="http://schemas.openxmlformats.org/officeDocument/2006/relationships/notesSlide" Target="../notesSlides/notesSlide14.xml"/><Relationship Id="rId1" Type="http://schemas.openxmlformats.org/officeDocument/2006/relationships/slideLayout" Target="../slideLayouts/slideLayout150.xml"/><Relationship Id="rId6" Type="http://schemas.openxmlformats.org/officeDocument/2006/relationships/image" Target="../media/image50.wmf"/><Relationship Id="rId5" Type="http://schemas.openxmlformats.org/officeDocument/2006/relationships/hyperlink" Target="mailto:tasum@vestas.com" TargetMode="External"/><Relationship Id="rId4" Type="http://schemas.openxmlformats.org/officeDocument/2006/relationships/hyperlink" Target="mailto:ewzae@vestas.com"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1.jpeg"/><Relationship Id="rId18" Type="http://schemas.openxmlformats.org/officeDocument/2006/relationships/image" Target="../media/image16.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0.jpeg"/><Relationship Id="rId17" Type="http://schemas.openxmlformats.org/officeDocument/2006/relationships/image" Target="../media/image15.jpeg"/><Relationship Id="rId2" Type="http://schemas.openxmlformats.org/officeDocument/2006/relationships/tags" Target="../tags/tag3.xml"/><Relationship Id="rId16" Type="http://schemas.openxmlformats.org/officeDocument/2006/relationships/image" Target="../media/image14.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9.png"/><Relationship Id="rId5" Type="http://schemas.openxmlformats.org/officeDocument/2006/relationships/tags" Target="../tags/tag6.xml"/><Relationship Id="rId15" Type="http://schemas.openxmlformats.org/officeDocument/2006/relationships/image" Target="../media/image13.jpeg"/><Relationship Id="rId10" Type="http://schemas.openxmlformats.org/officeDocument/2006/relationships/notesSlide" Target="../notesSlides/notesSlide2.xml"/><Relationship Id="rId19" Type="http://schemas.openxmlformats.org/officeDocument/2006/relationships/image" Target="../media/image17.jpeg"/><Relationship Id="rId4" Type="http://schemas.openxmlformats.org/officeDocument/2006/relationships/tags" Target="../tags/tag5.xml"/><Relationship Id="rId9" Type="http://schemas.openxmlformats.org/officeDocument/2006/relationships/slideLayout" Target="../slideLayouts/slideLayout2.xml"/><Relationship Id="rId14" Type="http://schemas.openxmlformats.org/officeDocument/2006/relationships/image" Target="../media/image12.jpeg"/></Relationships>
</file>

<file path=ppt/slides/_rels/slide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jpeg"/><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7" name="Group 42"/>
          <p:cNvGrpSpPr>
            <a:grpSpLocks/>
          </p:cNvGrpSpPr>
          <p:nvPr/>
        </p:nvGrpSpPr>
        <p:grpSpPr bwMode="auto">
          <a:xfrm>
            <a:off x="3175" y="-47625"/>
            <a:ext cx="9140825" cy="3814763"/>
            <a:chOff x="0" y="-16"/>
            <a:chExt cx="5758" cy="2403"/>
          </a:xfrm>
        </p:grpSpPr>
        <p:pic>
          <p:nvPicPr>
            <p:cNvPr id="3078" name="Picture 37" descr="forside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758" cy="2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28" descr="Vestas_Sej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 y="-16"/>
              <a:ext cx="3960" cy="2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12" descr="Vestas_Tagline_bi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 y="232"/>
              <a:ext cx="1712"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38" descr="Vestas_logo_whit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 y="191"/>
              <a:ext cx="1008" cy="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Subtitle 1"/>
          <p:cNvSpPr>
            <a:spLocks noGrp="1"/>
          </p:cNvSpPr>
          <p:nvPr>
            <p:ph type="subTitle" idx="1"/>
          </p:nvPr>
        </p:nvSpPr>
        <p:spPr>
          <a:xfrm>
            <a:off x="397123" y="4005064"/>
            <a:ext cx="8352928" cy="1431925"/>
          </a:xfrm>
        </p:spPr>
        <p:txBody>
          <a:bodyPr/>
          <a:lstStyle/>
          <a:p>
            <a:pPr algn="ctr"/>
            <a:r>
              <a:rPr lang="pl-PL" sz="2800" b="1" dirty="0" smtClean="0">
                <a:solidFill>
                  <a:schemeClr val="bg1"/>
                </a:solidFill>
              </a:rPr>
              <a:t>Rozwój energetyki wiatrowej </a:t>
            </a:r>
            <a:br>
              <a:rPr lang="pl-PL" sz="2800" b="1" dirty="0" smtClean="0">
                <a:solidFill>
                  <a:schemeClr val="bg1"/>
                </a:solidFill>
              </a:rPr>
            </a:br>
            <a:r>
              <a:rPr lang="pl-PL" sz="2800" b="1" dirty="0" smtClean="0">
                <a:solidFill>
                  <a:schemeClr val="bg1"/>
                </a:solidFill>
              </a:rPr>
              <a:t>– doświadczenia </a:t>
            </a:r>
            <a:r>
              <a:rPr lang="pl-PL" sz="2800" b="1" dirty="0" err="1" smtClean="0">
                <a:solidFill>
                  <a:schemeClr val="bg1"/>
                </a:solidFill>
              </a:rPr>
              <a:t>Vestas</a:t>
            </a:r>
            <a:endParaRPr lang="pl-PL" sz="2800" b="1" dirty="0" smtClean="0">
              <a:solidFill>
                <a:schemeClr val="bg1"/>
              </a:solidFill>
            </a:endParaRPr>
          </a:p>
          <a:p>
            <a:pPr algn="ctr"/>
            <a:endParaRPr lang="pl-PL" sz="2800" b="1" dirty="0" smtClean="0">
              <a:solidFill>
                <a:schemeClr val="bg1"/>
              </a:solidFill>
            </a:endParaRPr>
          </a:p>
          <a:p>
            <a:pPr algn="r"/>
            <a:r>
              <a:rPr lang="pl-PL" sz="2000" dirty="0" smtClean="0">
                <a:solidFill>
                  <a:schemeClr val="bg1"/>
                </a:solidFill>
              </a:rPr>
              <a:t>Ewa Zbierajewska</a:t>
            </a:r>
          </a:p>
          <a:p>
            <a:pPr algn="r"/>
            <a:r>
              <a:rPr lang="pl-PL" sz="2000" dirty="0" smtClean="0">
                <a:solidFill>
                  <a:schemeClr val="bg1"/>
                </a:solidFill>
              </a:rPr>
              <a:t>Tomasz Surma</a:t>
            </a:r>
          </a:p>
          <a:p>
            <a:pPr algn="r"/>
            <a:endParaRPr lang="de-DE" sz="1800" dirty="0">
              <a:solidFill>
                <a:schemeClr val="bg1"/>
              </a:solidFill>
            </a:endParaRPr>
          </a:p>
          <a:p>
            <a:pPr algn="ctr"/>
            <a:r>
              <a:rPr lang="pl-PL" sz="2000" dirty="0">
                <a:solidFill>
                  <a:schemeClr val="bg1"/>
                </a:solidFill>
              </a:rPr>
              <a:t>6</a:t>
            </a:r>
            <a:r>
              <a:rPr lang="en-US" sz="2000" dirty="0" smtClean="0">
                <a:solidFill>
                  <a:schemeClr val="bg1"/>
                </a:solidFill>
              </a:rPr>
              <a:t> </a:t>
            </a:r>
            <a:r>
              <a:rPr lang="pl-PL" sz="2000" dirty="0">
                <a:solidFill>
                  <a:schemeClr val="bg1"/>
                </a:solidFill>
              </a:rPr>
              <a:t>l</a:t>
            </a:r>
            <a:r>
              <a:rPr lang="pl-PL" sz="2000" dirty="0" smtClean="0">
                <a:solidFill>
                  <a:schemeClr val="bg1"/>
                </a:solidFill>
              </a:rPr>
              <a:t>istopada,</a:t>
            </a:r>
            <a:r>
              <a:rPr lang="en-US" sz="2000" dirty="0" smtClean="0">
                <a:solidFill>
                  <a:schemeClr val="bg1"/>
                </a:solidFill>
              </a:rPr>
              <a:t> 2012</a:t>
            </a:r>
            <a:r>
              <a:rPr lang="pl-PL" sz="2000" dirty="0" smtClean="0">
                <a:solidFill>
                  <a:schemeClr val="bg1"/>
                </a:solidFill>
              </a:rPr>
              <a:t> r.</a:t>
            </a:r>
            <a:endParaRPr lang="de-DE" sz="2000" dirty="0">
              <a:solidFill>
                <a:schemeClr val="bg1"/>
              </a:solidFill>
            </a:endParaRPr>
          </a:p>
          <a:p>
            <a:endParaRPr lang="en-US" sz="2800" b="1" dirty="0">
              <a:solidFill>
                <a:schemeClr val="bg1"/>
              </a:solidFill>
            </a:endParaRPr>
          </a:p>
        </p:txBody>
      </p:sp>
    </p:spTree>
    <p:extLst>
      <p:ext uri="{BB962C8B-B14F-4D97-AF65-F5344CB8AC3E}">
        <p14:creationId xmlns:p14="http://schemas.microsoft.com/office/powerpoint/2010/main" val="13698878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Line 2"/>
          <p:cNvSpPr>
            <a:spLocks noChangeShapeType="1"/>
          </p:cNvSpPr>
          <p:nvPr/>
        </p:nvSpPr>
        <p:spPr bwMode="auto">
          <a:xfrm flipV="1">
            <a:off x="4530725" y="3717925"/>
            <a:ext cx="4270375" cy="25400"/>
          </a:xfrm>
          <a:prstGeom prst="line">
            <a:avLst/>
          </a:prstGeom>
          <a:noFill/>
          <a:ln w="28575" cap="rnd">
            <a:solidFill>
              <a:schemeClr val="accent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532483" name="Line 3"/>
          <p:cNvSpPr>
            <a:spLocks noChangeShapeType="1"/>
          </p:cNvSpPr>
          <p:nvPr/>
        </p:nvSpPr>
        <p:spPr bwMode="auto">
          <a:xfrm flipH="1">
            <a:off x="465138" y="3743325"/>
            <a:ext cx="4052887" cy="0"/>
          </a:xfrm>
          <a:prstGeom prst="line">
            <a:avLst/>
          </a:prstGeom>
          <a:noFill/>
          <a:ln w="28575" cap="rnd">
            <a:solidFill>
              <a:schemeClr val="accent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532484" name="Line 4"/>
          <p:cNvSpPr>
            <a:spLocks noChangeShapeType="1"/>
          </p:cNvSpPr>
          <p:nvPr/>
        </p:nvSpPr>
        <p:spPr bwMode="auto">
          <a:xfrm flipH="1">
            <a:off x="4518025" y="1344613"/>
            <a:ext cx="12700" cy="4714875"/>
          </a:xfrm>
          <a:prstGeom prst="line">
            <a:avLst/>
          </a:prstGeom>
          <a:noFill/>
          <a:ln w="28575" cap="rnd">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532485" name="Oval 5"/>
          <p:cNvSpPr>
            <a:spLocks noChangeArrowheads="1"/>
          </p:cNvSpPr>
          <p:nvPr/>
        </p:nvSpPr>
        <p:spPr bwMode="auto">
          <a:xfrm>
            <a:off x="5027613" y="1630363"/>
            <a:ext cx="2862262" cy="1868487"/>
          </a:xfrm>
          <a:prstGeom prst="ellipse">
            <a:avLst/>
          </a:prstGeom>
          <a:solidFill>
            <a:srgbClr val="339966">
              <a:alpha val="30000"/>
            </a:srgbClr>
          </a:soli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eaLnBrk="0" hangingPunct="0"/>
            <a:r>
              <a:rPr lang="pl-PL" sz="1600"/>
              <a:t>LV</a:t>
            </a:r>
          </a:p>
        </p:txBody>
      </p:sp>
      <p:sp>
        <p:nvSpPr>
          <p:cNvPr id="532486" name="Oval 6"/>
          <p:cNvSpPr>
            <a:spLocks noChangeArrowheads="1"/>
          </p:cNvSpPr>
          <p:nvPr/>
        </p:nvSpPr>
        <p:spPr bwMode="auto">
          <a:xfrm>
            <a:off x="1068388" y="3921125"/>
            <a:ext cx="2862262" cy="1868488"/>
          </a:xfrm>
          <a:prstGeom prst="ellipse">
            <a:avLst/>
          </a:prstGeom>
          <a:solidFill>
            <a:srgbClr val="C0C0C0">
              <a:alpha val="30000"/>
            </a:srgbClr>
          </a:soli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eaLnBrk="0" hangingPunct="0"/>
            <a:endParaRPr lang="en-US" sz="1600"/>
          </a:p>
        </p:txBody>
      </p:sp>
      <p:sp>
        <p:nvSpPr>
          <p:cNvPr id="532487" name="Oval 7"/>
          <p:cNvSpPr>
            <a:spLocks noChangeArrowheads="1"/>
          </p:cNvSpPr>
          <p:nvPr/>
        </p:nvSpPr>
        <p:spPr bwMode="auto">
          <a:xfrm>
            <a:off x="1200150" y="1677988"/>
            <a:ext cx="2862263" cy="1868487"/>
          </a:xfrm>
          <a:prstGeom prst="ellipse">
            <a:avLst/>
          </a:prstGeom>
          <a:solidFill>
            <a:srgbClr val="3366FF">
              <a:alpha val="30000"/>
            </a:srgbClr>
          </a:soli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532488" name="Oval 8"/>
          <p:cNvSpPr>
            <a:spLocks noChangeArrowheads="1"/>
          </p:cNvSpPr>
          <p:nvPr/>
        </p:nvSpPr>
        <p:spPr bwMode="auto">
          <a:xfrm>
            <a:off x="5027613" y="3921125"/>
            <a:ext cx="2862262" cy="1868488"/>
          </a:xfrm>
          <a:prstGeom prst="ellipse">
            <a:avLst/>
          </a:prstGeom>
          <a:solidFill>
            <a:srgbClr val="99CCFF">
              <a:alpha val="30000"/>
            </a:srgbClr>
          </a:soli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eaLnBrk="0" hangingPunct="0"/>
            <a:endParaRPr lang="en-US" sz="1600"/>
          </a:p>
        </p:txBody>
      </p:sp>
      <p:sp>
        <p:nvSpPr>
          <p:cNvPr id="532489" name="Oval 9"/>
          <p:cNvSpPr>
            <a:spLocks noChangeArrowheads="1"/>
          </p:cNvSpPr>
          <p:nvPr/>
        </p:nvSpPr>
        <p:spPr bwMode="auto">
          <a:xfrm>
            <a:off x="2511425" y="2403475"/>
            <a:ext cx="4210050" cy="2563813"/>
          </a:xfrm>
          <a:prstGeom prst="ellipse">
            <a:avLst/>
          </a:prstGeom>
          <a:solidFill>
            <a:schemeClr val="bg2">
              <a:alpha val="56000"/>
            </a:schemeClr>
          </a:soli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532490" name="Text Box 10"/>
          <p:cNvSpPr txBox="1">
            <a:spLocks noChangeArrowheads="1"/>
          </p:cNvSpPr>
          <p:nvPr/>
        </p:nvSpPr>
        <p:spPr bwMode="auto">
          <a:xfrm>
            <a:off x="5535613" y="4214813"/>
            <a:ext cx="696912"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endParaRPr lang="en-US" sz="1600"/>
          </a:p>
        </p:txBody>
      </p:sp>
      <p:sp>
        <p:nvSpPr>
          <p:cNvPr id="532491" name="Text Box 11"/>
          <p:cNvSpPr txBox="1">
            <a:spLocks noChangeArrowheads="1"/>
          </p:cNvSpPr>
          <p:nvPr/>
        </p:nvSpPr>
        <p:spPr bwMode="auto">
          <a:xfrm>
            <a:off x="5027613" y="2589213"/>
            <a:ext cx="936625"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a:t>BE  IT</a:t>
            </a:r>
          </a:p>
        </p:txBody>
      </p:sp>
      <p:sp>
        <p:nvSpPr>
          <p:cNvPr id="532492" name="Text Box 12"/>
          <p:cNvSpPr txBox="1">
            <a:spLocks noChangeArrowheads="1"/>
          </p:cNvSpPr>
          <p:nvPr/>
        </p:nvSpPr>
        <p:spPr bwMode="auto">
          <a:xfrm>
            <a:off x="5214938" y="2862263"/>
            <a:ext cx="1430337"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a:t>  SE  RO</a:t>
            </a:r>
          </a:p>
        </p:txBody>
      </p:sp>
      <p:sp>
        <p:nvSpPr>
          <p:cNvPr id="532493" name="Text Box 13"/>
          <p:cNvSpPr txBox="1">
            <a:spLocks noChangeArrowheads="1"/>
          </p:cNvSpPr>
          <p:nvPr/>
        </p:nvSpPr>
        <p:spPr bwMode="auto">
          <a:xfrm>
            <a:off x="5789613" y="3162300"/>
            <a:ext cx="1046162"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a:t>PL UK</a:t>
            </a:r>
          </a:p>
        </p:txBody>
      </p:sp>
      <p:sp>
        <p:nvSpPr>
          <p:cNvPr id="532494" name="Text Box 14"/>
          <p:cNvSpPr txBox="1">
            <a:spLocks noChangeArrowheads="1"/>
          </p:cNvSpPr>
          <p:nvPr/>
        </p:nvSpPr>
        <p:spPr bwMode="auto">
          <a:xfrm>
            <a:off x="1222375" y="1901825"/>
            <a:ext cx="2730500" cy="1436688"/>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dirty="0"/>
              <a:t>       AT  CY  CZ  DK  EE</a:t>
            </a:r>
          </a:p>
          <a:p>
            <a:pPr algn="l" eaLnBrk="0" hangingPunct="0">
              <a:spcBef>
                <a:spcPct val="50000"/>
              </a:spcBef>
            </a:pPr>
            <a:r>
              <a:rPr lang="pl-PL" sz="1600" dirty="0"/>
              <a:t>  ES  FR  DE  BG  SK</a:t>
            </a:r>
          </a:p>
          <a:p>
            <a:pPr algn="l" eaLnBrk="0" hangingPunct="0">
              <a:spcBef>
                <a:spcPct val="50000"/>
              </a:spcBef>
            </a:pPr>
            <a:r>
              <a:rPr lang="pl-PL" sz="1600" dirty="0"/>
              <a:t> SI  GR  HU  </a:t>
            </a:r>
            <a:r>
              <a:rPr lang="pl-PL" sz="1600" dirty="0" smtClean="0"/>
              <a:t>IE</a:t>
            </a:r>
            <a:r>
              <a:rPr lang="en-US" sz="1600" dirty="0" smtClean="0"/>
              <a:t>  FR</a:t>
            </a:r>
            <a:endParaRPr lang="pl-PL" sz="1600" dirty="0"/>
          </a:p>
          <a:p>
            <a:pPr algn="l" eaLnBrk="0" hangingPunct="0">
              <a:spcBef>
                <a:spcPct val="50000"/>
              </a:spcBef>
            </a:pPr>
            <a:r>
              <a:rPr lang="pl-PL" sz="1600" dirty="0"/>
              <a:t>      LT  LU  PT</a:t>
            </a:r>
          </a:p>
        </p:txBody>
      </p:sp>
      <p:sp>
        <p:nvSpPr>
          <p:cNvPr id="532495" name="Text Box 15"/>
          <p:cNvSpPr txBox="1">
            <a:spLocks noChangeArrowheads="1"/>
          </p:cNvSpPr>
          <p:nvPr/>
        </p:nvSpPr>
        <p:spPr bwMode="auto">
          <a:xfrm>
            <a:off x="3097213" y="2814638"/>
            <a:ext cx="546100"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a:t>NL</a:t>
            </a:r>
          </a:p>
        </p:txBody>
      </p:sp>
      <p:sp>
        <p:nvSpPr>
          <p:cNvPr id="532496" name="Text Box 16"/>
          <p:cNvSpPr txBox="1">
            <a:spLocks noChangeArrowheads="1"/>
          </p:cNvSpPr>
          <p:nvPr/>
        </p:nvSpPr>
        <p:spPr bwMode="auto">
          <a:xfrm>
            <a:off x="6232525" y="4770438"/>
            <a:ext cx="768350"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pPr algn="l" eaLnBrk="0" hangingPunct="0"/>
            <a:r>
              <a:rPr lang="pl-PL" sz="1600"/>
              <a:t>FR  IR</a:t>
            </a:r>
          </a:p>
        </p:txBody>
      </p:sp>
      <p:sp>
        <p:nvSpPr>
          <p:cNvPr id="532497" name="Text Box 17"/>
          <p:cNvSpPr txBox="1">
            <a:spLocks noChangeArrowheads="1"/>
          </p:cNvSpPr>
          <p:nvPr/>
        </p:nvSpPr>
        <p:spPr bwMode="auto">
          <a:xfrm>
            <a:off x="3068638" y="4167188"/>
            <a:ext cx="574675"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a:t>UK</a:t>
            </a:r>
          </a:p>
        </p:txBody>
      </p:sp>
      <p:sp>
        <p:nvSpPr>
          <p:cNvPr id="532498" name="Text Box 18"/>
          <p:cNvSpPr txBox="1">
            <a:spLocks noChangeArrowheads="1"/>
          </p:cNvSpPr>
          <p:nvPr/>
        </p:nvSpPr>
        <p:spPr bwMode="auto">
          <a:xfrm>
            <a:off x="2035175" y="4770438"/>
            <a:ext cx="1033463"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a:t>FI  MT</a:t>
            </a:r>
          </a:p>
        </p:txBody>
      </p:sp>
      <p:sp>
        <p:nvSpPr>
          <p:cNvPr id="532499" name="Text Box 19"/>
          <p:cNvSpPr txBox="1">
            <a:spLocks noChangeArrowheads="1"/>
          </p:cNvSpPr>
          <p:nvPr/>
        </p:nvSpPr>
        <p:spPr bwMode="auto">
          <a:xfrm>
            <a:off x="1363663" y="1281113"/>
            <a:ext cx="1808162" cy="396875"/>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eaLnBrk="0" hangingPunct="0">
              <a:spcBef>
                <a:spcPct val="50000"/>
              </a:spcBef>
            </a:pPr>
            <a:r>
              <a:rPr lang="pl-PL"/>
              <a:t>Feed-in</a:t>
            </a:r>
          </a:p>
        </p:txBody>
      </p:sp>
      <p:sp>
        <p:nvSpPr>
          <p:cNvPr id="532500" name="Text Box 20"/>
          <p:cNvSpPr txBox="1">
            <a:spLocks noChangeArrowheads="1"/>
          </p:cNvSpPr>
          <p:nvPr/>
        </p:nvSpPr>
        <p:spPr bwMode="auto">
          <a:xfrm>
            <a:off x="6307138" y="5789613"/>
            <a:ext cx="1311275" cy="396875"/>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eaLnBrk="0" hangingPunct="0">
              <a:spcBef>
                <a:spcPct val="50000"/>
              </a:spcBef>
            </a:pPr>
            <a:r>
              <a:rPr lang="pl-PL"/>
              <a:t>Przetargi</a:t>
            </a:r>
          </a:p>
        </p:txBody>
      </p:sp>
      <p:sp>
        <p:nvSpPr>
          <p:cNvPr id="532501" name="Text Box 21"/>
          <p:cNvSpPr txBox="1">
            <a:spLocks noChangeArrowheads="1"/>
          </p:cNvSpPr>
          <p:nvPr/>
        </p:nvSpPr>
        <p:spPr bwMode="auto">
          <a:xfrm>
            <a:off x="1350963" y="5789613"/>
            <a:ext cx="1897062" cy="396875"/>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eaLnBrk="0" hangingPunct="0">
              <a:spcBef>
                <a:spcPct val="50000"/>
              </a:spcBef>
            </a:pPr>
            <a:r>
              <a:rPr lang="pl-PL"/>
              <a:t>Podatki</a:t>
            </a:r>
          </a:p>
        </p:txBody>
      </p:sp>
      <p:sp>
        <p:nvSpPr>
          <p:cNvPr id="532502" name="Text Box 22"/>
          <p:cNvSpPr txBox="1">
            <a:spLocks noChangeArrowheads="1"/>
          </p:cNvSpPr>
          <p:nvPr/>
        </p:nvSpPr>
        <p:spPr bwMode="auto">
          <a:xfrm>
            <a:off x="5748338" y="1260475"/>
            <a:ext cx="2117725" cy="396875"/>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eaLnBrk="0" hangingPunct="0">
              <a:spcBef>
                <a:spcPct val="50000"/>
              </a:spcBef>
            </a:pPr>
            <a:r>
              <a:rPr lang="pl-PL"/>
              <a:t>System kwotowy</a:t>
            </a:r>
          </a:p>
        </p:txBody>
      </p:sp>
      <p:sp>
        <p:nvSpPr>
          <p:cNvPr id="532503" name="Text Box 23"/>
          <p:cNvSpPr txBox="1">
            <a:spLocks noChangeArrowheads="1"/>
          </p:cNvSpPr>
          <p:nvPr/>
        </p:nvSpPr>
        <p:spPr bwMode="auto">
          <a:xfrm>
            <a:off x="3135313" y="3133725"/>
            <a:ext cx="2892425" cy="1294843"/>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ctr" eaLnBrk="0" hangingPunct="0">
              <a:spcBef>
                <a:spcPct val="50000"/>
              </a:spcBef>
            </a:pPr>
            <a:r>
              <a:rPr lang="pl-PL" b="1" dirty="0">
                <a:solidFill>
                  <a:srgbClr val="3EA345"/>
                </a:solidFill>
              </a:rPr>
              <a:t>Świadectwa pochodzenia/zielone certyfikaty</a:t>
            </a:r>
            <a:r>
              <a:rPr lang="pl-PL" sz="1600" dirty="0"/>
              <a:t>  </a:t>
            </a:r>
          </a:p>
          <a:p>
            <a:pPr eaLnBrk="0" hangingPunct="0">
              <a:spcBef>
                <a:spcPct val="50000"/>
              </a:spcBef>
            </a:pPr>
            <a:endParaRPr lang="pl-PL" sz="1600" dirty="0"/>
          </a:p>
        </p:txBody>
      </p:sp>
      <p:sp>
        <p:nvSpPr>
          <p:cNvPr id="532504" name="Text Box 24"/>
          <p:cNvSpPr txBox="1">
            <a:spLocks noChangeArrowheads="1"/>
          </p:cNvSpPr>
          <p:nvPr/>
        </p:nvSpPr>
        <p:spPr bwMode="auto">
          <a:xfrm>
            <a:off x="319088" y="3403600"/>
            <a:ext cx="1808162"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b="1"/>
              <a:t>Bodziec cenowy</a:t>
            </a:r>
            <a:endParaRPr lang="en-US" sz="1600" b="1"/>
          </a:p>
        </p:txBody>
      </p:sp>
      <p:sp>
        <p:nvSpPr>
          <p:cNvPr id="532505" name="Text Box 25"/>
          <p:cNvSpPr txBox="1">
            <a:spLocks noChangeArrowheads="1"/>
          </p:cNvSpPr>
          <p:nvPr/>
        </p:nvSpPr>
        <p:spPr bwMode="auto">
          <a:xfrm>
            <a:off x="7000875" y="3349625"/>
            <a:ext cx="2143125" cy="336550"/>
          </a:xfrm>
          <a:prstGeom prst="rect">
            <a:avLst/>
          </a:prstGeom>
          <a:noFill/>
          <a:ln>
            <a:noFill/>
          </a:ln>
          <a:effectLst/>
          <a:extLst>
            <a:ext uri="{909E8E84-426E-40DD-AFC4-6F175D3DCCD1}">
              <a14:hiddenFill xmlns:a14="http://schemas.microsoft.com/office/drawing/2010/main">
                <a:solidFill>
                  <a:srgbClr val="135BA6"/>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l" eaLnBrk="0" hangingPunct="0">
              <a:spcBef>
                <a:spcPct val="50000"/>
              </a:spcBef>
            </a:pPr>
            <a:r>
              <a:rPr lang="pl-PL" sz="1600" b="1"/>
              <a:t>Bodziec ilościowy</a:t>
            </a:r>
            <a:endParaRPr lang="en-US" sz="1600" b="1"/>
          </a:p>
        </p:txBody>
      </p:sp>
      <p:sp>
        <p:nvSpPr>
          <p:cNvPr id="532506" name="Rectangle 26"/>
          <p:cNvSpPr>
            <a:spLocks noGrp="1" noChangeArrowheads="1"/>
          </p:cNvSpPr>
          <p:nvPr>
            <p:ph type="title"/>
          </p:nvPr>
        </p:nvSpPr>
        <p:spPr>
          <a:xfrm>
            <a:off x="414338" y="130175"/>
            <a:ext cx="8178800" cy="628650"/>
          </a:xfrm>
          <a:noFill/>
          <a:ln/>
        </p:spPr>
        <p:txBody>
          <a:bodyPr/>
          <a:lstStyle/>
          <a:p>
            <a:r>
              <a:rPr lang="pl-PL" sz="2800" b="1" dirty="0"/>
              <a:t>Systemy wsparcia energetyki odnawialnej w UE</a:t>
            </a:r>
          </a:p>
        </p:txBody>
      </p:sp>
    </p:spTree>
    <p:extLst>
      <p:ext uri="{BB962C8B-B14F-4D97-AF65-F5344CB8AC3E}">
        <p14:creationId xmlns:p14="http://schemas.microsoft.com/office/powerpoint/2010/main" val="8129069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Slide Number Placeholder 6"/>
          <p:cNvSpPr>
            <a:spLocks noGrp="1"/>
          </p:cNvSpPr>
          <p:nvPr>
            <p:ph type="sldNum" sz="quarter" idx="12"/>
          </p:nvPr>
        </p:nvSpPr>
        <p:spPr/>
        <p:txBody>
          <a:bodyPr/>
          <a:lstStyle/>
          <a:p>
            <a:fld id="{787C01C8-D936-446C-A91C-84D3C220F8B7}" type="slidenum">
              <a:rPr lang="en-GB"/>
              <a:pPr/>
              <a:t>11</a:t>
            </a:fld>
            <a:endParaRPr lang="en-GB"/>
          </a:p>
        </p:txBody>
      </p:sp>
      <p:sp>
        <p:nvSpPr>
          <p:cNvPr id="805890" name="Rectangle 2"/>
          <p:cNvSpPr>
            <a:spLocks noGrp="1" noChangeArrowheads="1"/>
          </p:cNvSpPr>
          <p:nvPr>
            <p:ph type="title"/>
          </p:nvPr>
        </p:nvSpPr>
        <p:spPr>
          <a:xfrm>
            <a:off x="251520" y="260648"/>
            <a:ext cx="8529637" cy="628650"/>
          </a:xfrm>
        </p:spPr>
        <p:txBody>
          <a:bodyPr/>
          <a:lstStyle/>
          <a:p>
            <a:r>
              <a:rPr lang="pl-PL" sz="2800" b="1" dirty="0" smtClean="0"/>
              <a:t>Nowe moce w UE</a:t>
            </a:r>
            <a:r>
              <a:rPr lang="en-US" sz="2800" b="1" dirty="0" smtClean="0"/>
              <a:t>, MW</a:t>
            </a:r>
            <a:endParaRPr lang="en-GB" sz="2800" b="1" dirty="0"/>
          </a:p>
        </p:txBody>
      </p:sp>
      <p:sp>
        <p:nvSpPr>
          <p:cNvPr id="5" name="Rectangle 41"/>
          <p:cNvSpPr>
            <a:spLocks noChangeArrowheads="1"/>
          </p:cNvSpPr>
          <p:nvPr/>
        </p:nvSpPr>
        <p:spPr bwMode="auto">
          <a:xfrm>
            <a:off x="152400" y="152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a-DK"/>
          </a:p>
        </p:txBody>
      </p:sp>
      <p:grpSp>
        <p:nvGrpSpPr>
          <p:cNvPr id="6" name="Group 10"/>
          <p:cNvGrpSpPr>
            <a:grpSpLocks/>
          </p:cNvGrpSpPr>
          <p:nvPr/>
        </p:nvGrpSpPr>
        <p:grpSpPr bwMode="auto">
          <a:xfrm>
            <a:off x="552980" y="1099338"/>
            <a:ext cx="7992888" cy="4816522"/>
            <a:chOff x="0" y="0"/>
            <a:chExt cx="60960" cy="32099"/>
          </a:xfrm>
        </p:grpSpPr>
        <p:pic>
          <p:nvPicPr>
            <p:cNvPr id="8"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0960" cy="3209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p:cNvGrpSpPr>
            <p:nvPr/>
          </p:nvGrpSpPr>
          <p:grpSpPr bwMode="auto">
            <a:xfrm>
              <a:off x="10001" y="15824"/>
              <a:ext cx="49625" cy="16084"/>
              <a:chOff x="0" y="12"/>
              <a:chExt cx="49625" cy="16085"/>
            </a:xfrm>
          </p:grpSpPr>
          <p:sp>
            <p:nvSpPr>
              <p:cNvPr id="10" name="Text Box 2"/>
              <p:cNvSpPr txBox="1">
                <a:spLocks noChangeArrowheads="1"/>
              </p:cNvSpPr>
              <p:nvPr/>
            </p:nvSpPr>
            <p:spPr bwMode="auto">
              <a:xfrm rot="5400000">
                <a:off x="44630" y="2245"/>
                <a:ext cx="7227" cy="2762"/>
              </a:xfrm>
              <a:prstGeom prst="rect">
                <a:avLst/>
              </a:prstGeom>
              <a:solidFill>
                <a:srgbClr val="DBE5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l-PL" sz="1200" b="1" i="0" u="none" strike="noStrike" cap="none" normalizeH="0" baseline="0" smtClean="0">
                    <a:ln>
                      <a:noFill/>
                    </a:ln>
                    <a:solidFill>
                      <a:schemeClr val="tx1"/>
                    </a:solidFill>
                    <a:effectLst/>
                    <a:latin typeface="Arial" pitchFamily="34" charset="0"/>
                    <a:ea typeface="Times New Roman" pitchFamily="18" charset="0"/>
                    <a:cs typeface="Arial" pitchFamily="34" charset="0"/>
                  </a:rPr>
                  <a:t>OZE</a:t>
                </a:r>
                <a:endParaRPr kumimoji="0" lang="pl-PL" sz="1800" b="0" i="0" u="none" strike="noStrike" cap="none" normalizeH="0" baseline="0" smtClean="0">
                  <a:ln>
                    <a:noFill/>
                  </a:ln>
                  <a:solidFill>
                    <a:schemeClr val="tx1"/>
                  </a:solidFill>
                  <a:effectLst/>
                  <a:latin typeface="Arial" pitchFamily="34" charset="0"/>
                  <a:cs typeface="Arial" pitchFamily="34" charset="0"/>
                </a:endParaRPr>
              </a:p>
            </p:txBody>
          </p:sp>
          <p:sp>
            <p:nvSpPr>
              <p:cNvPr id="11" name="Text Box 2"/>
              <p:cNvSpPr txBox="1">
                <a:spLocks noChangeArrowheads="1"/>
              </p:cNvSpPr>
              <p:nvPr/>
            </p:nvSpPr>
            <p:spPr bwMode="auto">
              <a:xfrm>
                <a:off x="33528" y="12566"/>
                <a:ext cx="5143" cy="268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gaz</a:t>
                </a:r>
                <a:endParaRPr kumimoji="0" lang="pl-PL"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biomasa</a:t>
                </a:r>
                <a:endParaRPr kumimoji="0" lang="pl-PL"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 name="Text Box 3"/>
              <p:cNvSpPr txBox="1">
                <a:spLocks noChangeArrowheads="1"/>
              </p:cNvSpPr>
              <p:nvPr/>
            </p:nvSpPr>
            <p:spPr bwMode="auto">
              <a:xfrm>
                <a:off x="25121" y="12565"/>
                <a:ext cx="7341" cy="353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węgiel</a:t>
                </a:r>
                <a:endParaRPr kumimoji="0" lang="pl-PL"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odpady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sz="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wiatrowe</a:t>
                </a:r>
                <a:endParaRPr kumimoji="0" lang="pl-PL"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 name="Text Box 4"/>
              <p:cNvSpPr txBox="1">
                <a:spLocks noChangeArrowheads="1"/>
              </p:cNvSpPr>
              <p:nvPr/>
            </p:nvSpPr>
            <p:spPr bwMode="auto">
              <a:xfrm>
                <a:off x="16573" y="12564"/>
                <a:ext cx="7817" cy="334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jądrowe</a:t>
                </a:r>
                <a:endParaRPr kumimoji="0" lang="pl-PL"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wodne mał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sz="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PV</a:t>
                </a:r>
                <a:endParaRPr kumimoji="0" lang="pl-PL"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Text Box 5"/>
              <p:cNvSpPr txBox="1">
                <a:spLocks noChangeArrowheads="1"/>
              </p:cNvSpPr>
              <p:nvPr/>
            </p:nvSpPr>
            <p:spPr bwMode="auto">
              <a:xfrm>
                <a:off x="8477" y="12564"/>
                <a:ext cx="7620" cy="334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olej</a:t>
                </a:r>
                <a:endParaRPr kumimoji="0" lang="pl-PL"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a:t>
                </a:r>
                <a:r>
                  <a:rPr kumimoji="0" lang="pl-PL" sz="9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helioterm</a:t>
                </a: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sz="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wodne duże</a:t>
                </a:r>
                <a:endParaRPr kumimoji="0" lang="pl-PL"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 name="Text Box 6"/>
              <p:cNvSpPr txBox="1">
                <a:spLocks noChangeArrowheads="1"/>
              </p:cNvSpPr>
              <p:nvPr/>
            </p:nvSpPr>
            <p:spPr bwMode="auto">
              <a:xfrm>
                <a:off x="0" y="12564"/>
                <a:ext cx="7620" cy="353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w. </a:t>
                </a:r>
                <a:r>
                  <a:rPr kumimoji="0" lang="en-US" sz="9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brunatny</a:t>
                </a:r>
                <a:endPar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a:t>
                </a:r>
                <a:r>
                  <a:rPr kumimoji="0" lang="en-US" sz="9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maremotor</a:t>
                </a:r>
                <a:r>
                  <a:rPr kumimoji="0" lang="en-US"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t>
                </a:r>
                <a:endParaRPr kumimoji="0" lang="pl-PL"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e. </a:t>
                </a:r>
                <a:r>
                  <a:rPr kumimoji="0" lang="en-US" sz="9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geoterm</a:t>
                </a:r>
                <a:r>
                  <a:rPr kumimoji="0" lang="en-US" sz="9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grpSp>
      <p:sp>
        <p:nvSpPr>
          <p:cNvPr id="2" name="TextBox 1"/>
          <p:cNvSpPr txBox="1"/>
          <p:nvPr/>
        </p:nvSpPr>
        <p:spPr>
          <a:xfrm>
            <a:off x="683568" y="5915860"/>
            <a:ext cx="2179823" cy="246221"/>
          </a:xfrm>
          <a:prstGeom prst="rect">
            <a:avLst/>
          </a:prstGeom>
          <a:noFill/>
        </p:spPr>
        <p:txBody>
          <a:bodyPr wrap="square" rtlCol="0">
            <a:spAutoFit/>
          </a:bodyPr>
          <a:lstStyle/>
          <a:p>
            <a:r>
              <a:rPr lang="pl-PL" sz="1000" i="1" dirty="0" smtClean="0"/>
              <a:t>Źródło: EWEA</a:t>
            </a:r>
            <a:endParaRPr lang="de-DE" sz="1000" i="1" dirty="0"/>
          </a:p>
        </p:txBody>
      </p:sp>
    </p:spTree>
    <p:extLst>
      <p:ext uri="{BB962C8B-B14F-4D97-AF65-F5344CB8AC3E}">
        <p14:creationId xmlns:p14="http://schemas.microsoft.com/office/powerpoint/2010/main" val="191743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2800" b="1" dirty="0" smtClean="0"/>
              <a:t>Przyrost mocy zainstalowanej energetyki wiatrowej na świecie</a:t>
            </a:r>
            <a:endParaRPr lang="de-DE" sz="2800" b="1" dirty="0"/>
          </a:p>
        </p:txBody>
      </p:sp>
      <p:sp>
        <p:nvSpPr>
          <p:cNvPr id="6" name="Slide Number Placeholder 5"/>
          <p:cNvSpPr>
            <a:spLocks noGrp="1"/>
          </p:cNvSpPr>
          <p:nvPr>
            <p:ph type="sldNum" sz="quarter" idx="12"/>
          </p:nvPr>
        </p:nvSpPr>
        <p:spPr/>
        <p:txBody>
          <a:bodyPr/>
          <a:lstStyle/>
          <a:p>
            <a:pPr>
              <a:defRPr/>
            </a:pPr>
            <a:fld id="{0F8DA5E8-531F-408B-A5C3-9AB2748C4C7A}" type="slidenum">
              <a:rPr lang="en-GB" smtClean="0">
                <a:solidFill>
                  <a:srgbClr val="000000"/>
                </a:solidFill>
              </a:rPr>
              <a:pPr>
                <a:defRPr/>
              </a:pPr>
              <a:t>12</a:t>
            </a:fld>
            <a:endParaRPr lang="en-GB">
              <a:solidFill>
                <a:srgbClr val="000000"/>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7549" y="3225557"/>
            <a:ext cx="4723475" cy="363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8" y="692696"/>
            <a:ext cx="5924164" cy="2779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339752" y="6381328"/>
            <a:ext cx="2179823" cy="246221"/>
          </a:xfrm>
          <a:prstGeom prst="rect">
            <a:avLst/>
          </a:prstGeom>
          <a:noFill/>
        </p:spPr>
        <p:txBody>
          <a:bodyPr wrap="square" rtlCol="0">
            <a:spAutoFit/>
          </a:bodyPr>
          <a:lstStyle/>
          <a:p>
            <a:r>
              <a:rPr lang="pl-PL" sz="1000" i="1" dirty="0" smtClean="0"/>
              <a:t>Źródło: GWEC</a:t>
            </a:r>
            <a:endParaRPr lang="de-DE" sz="1000" i="1" dirty="0"/>
          </a:p>
        </p:txBody>
      </p:sp>
    </p:spTree>
    <p:extLst>
      <p:ext uri="{BB962C8B-B14F-4D97-AF65-F5344CB8AC3E}">
        <p14:creationId xmlns:p14="http://schemas.microsoft.com/office/powerpoint/2010/main" val="22940702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0F8DA5E8-531F-408B-A5C3-9AB2748C4C7A}" type="slidenum">
              <a:rPr lang="en-GB" smtClean="0">
                <a:solidFill>
                  <a:srgbClr val="000000"/>
                </a:solidFill>
              </a:rPr>
              <a:pPr>
                <a:defRPr/>
              </a:pPr>
              <a:t>13</a:t>
            </a:fld>
            <a:endParaRPr lang="en-GB">
              <a:solidFill>
                <a:srgbClr val="000000"/>
              </a:solidFill>
            </a:endParaRPr>
          </a:p>
        </p:txBody>
      </p:sp>
      <p:sp>
        <p:nvSpPr>
          <p:cNvPr id="7" name="Rectangle 2"/>
          <p:cNvSpPr>
            <a:spLocks noGrp="1" noChangeArrowheads="1"/>
          </p:cNvSpPr>
          <p:nvPr>
            <p:ph type="title"/>
          </p:nvPr>
        </p:nvSpPr>
        <p:spPr>
          <a:xfrm>
            <a:off x="0" y="260648"/>
            <a:ext cx="9144000" cy="628650"/>
          </a:xfrm>
        </p:spPr>
        <p:txBody>
          <a:bodyPr/>
          <a:lstStyle/>
          <a:p>
            <a:r>
              <a:rPr lang="pl-PL" sz="2800" b="1" dirty="0" smtClean="0"/>
              <a:t>Udział energii elektrycznej z EW w zużyciu końcowym</a:t>
            </a:r>
            <a:endParaRPr lang="en-GB" sz="2800" b="1"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a-DK"/>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a-DK"/>
          </a:p>
        </p:txBody>
      </p:sp>
      <p:graphicFrame>
        <p:nvGraphicFramePr>
          <p:cNvPr id="5" name="Object 4"/>
          <p:cNvGraphicFramePr>
            <a:graphicFrameLocks noChangeAspect="1"/>
          </p:cNvGraphicFramePr>
          <p:nvPr>
            <p:extLst>
              <p:ext uri="{D42A27DB-BD31-4B8C-83A1-F6EECF244321}">
                <p14:modId xmlns:p14="http://schemas.microsoft.com/office/powerpoint/2010/main" val="2941726367"/>
              </p:ext>
            </p:extLst>
          </p:nvPr>
        </p:nvGraphicFramePr>
        <p:xfrm>
          <a:off x="539552" y="692696"/>
          <a:ext cx="8332291" cy="5311293"/>
        </p:xfrm>
        <a:graphic>
          <a:graphicData uri="http://schemas.openxmlformats.org/presentationml/2006/ole">
            <mc:AlternateContent xmlns:mc="http://schemas.openxmlformats.org/markup-compatibility/2006">
              <mc:Choice xmlns:v="urn:schemas-microsoft-com:vml" Requires="v">
                <p:oleObj spid="_x0000_s3105" name="Worksheet" r:id="rId4" imgW="6629478" imgH="4524357" progId="Excel.Sheet.12">
                  <p:embed/>
                </p:oleObj>
              </mc:Choice>
              <mc:Fallback>
                <p:oleObj name="Worksheet" r:id="rId4" imgW="6629478" imgH="4524357" progId="Excel.Sheet.12">
                  <p:embed/>
                  <p:pic>
                    <p:nvPicPr>
                      <p:cNvPr id="0" name=""/>
                      <p:cNvPicPr>
                        <a:picLocks noChangeAspect="1" noChangeArrowheads="1"/>
                      </p:cNvPicPr>
                      <p:nvPr/>
                    </p:nvPicPr>
                    <p:blipFill>
                      <a:blip r:embed="rId5"/>
                      <a:srcRect/>
                      <a:stretch>
                        <a:fillRect/>
                      </a:stretch>
                    </p:blipFill>
                    <p:spPr bwMode="auto">
                      <a:xfrm>
                        <a:off x="539552" y="692696"/>
                        <a:ext cx="8332291" cy="5311293"/>
                      </a:xfrm>
                      <a:prstGeom prst="rect">
                        <a:avLst/>
                      </a:prstGeom>
                      <a:noFill/>
                    </p:spPr>
                  </p:pic>
                </p:oleObj>
              </mc:Fallback>
            </mc:AlternateContent>
          </a:graphicData>
        </a:graphic>
      </p:graphicFrame>
    </p:spTree>
    <p:extLst>
      <p:ext uri="{BB962C8B-B14F-4D97-AF65-F5344CB8AC3E}">
        <p14:creationId xmlns:p14="http://schemas.microsoft.com/office/powerpoint/2010/main" val="13289302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0F8DA5E8-531F-408B-A5C3-9AB2748C4C7A}" type="slidenum">
              <a:rPr lang="en-GB" smtClean="0">
                <a:solidFill>
                  <a:srgbClr val="000000"/>
                </a:solidFill>
              </a:rPr>
              <a:pPr>
                <a:defRPr/>
              </a:pPr>
              <a:t>14</a:t>
            </a:fld>
            <a:endParaRPr lang="en-GB">
              <a:solidFill>
                <a:srgbClr val="000000"/>
              </a:solidFill>
            </a:endParaRPr>
          </a:p>
        </p:txBody>
      </p:sp>
      <p:sp>
        <p:nvSpPr>
          <p:cNvPr id="7" name="Rectangle 2"/>
          <p:cNvSpPr>
            <a:spLocks noGrp="1" noChangeArrowheads="1"/>
          </p:cNvSpPr>
          <p:nvPr>
            <p:ph type="title"/>
          </p:nvPr>
        </p:nvSpPr>
        <p:spPr>
          <a:xfrm>
            <a:off x="251520" y="260648"/>
            <a:ext cx="8529637" cy="628650"/>
          </a:xfrm>
        </p:spPr>
        <p:txBody>
          <a:bodyPr/>
          <a:lstStyle/>
          <a:p>
            <a:r>
              <a:rPr lang="pl-PL" sz="2800" b="1" dirty="0" smtClean="0"/>
              <a:t>Elektrownie wiatrowe na obszarach morskich</a:t>
            </a:r>
            <a:endParaRPr lang="en-GB" sz="2800" b="1"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a-DK"/>
          </a:p>
        </p:txBody>
      </p:sp>
      <p:graphicFrame>
        <p:nvGraphicFramePr>
          <p:cNvPr id="3" name="Object 2"/>
          <p:cNvGraphicFramePr>
            <a:graphicFrameLocks noChangeAspect="1"/>
          </p:cNvGraphicFramePr>
          <p:nvPr>
            <p:extLst>
              <p:ext uri="{D42A27DB-BD31-4B8C-83A1-F6EECF244321}">
                <p14:modId xmlns:p14="http://schemas.microsoft.com/office/powerpoint/2010/main" val="3795110516"/>
              </p:ext>
            </p:extLst>
          </p:nvPr>
        </p:nvGraphicFramePr>
        <p:xfrm>
          <a:off x="755576" y="1124744"/>
          <a:ext cx="7893032" cy="4464496"/>
        </p:xfrm>
        <a:graphic>
          <a:graphicData uri="http://schemas.openxmlformats.org/presentationml/2006/ole">
            <mc:AlternateContent xmlns:mc="http://schemas.openxmlformats.org/markup-compatibility/2006">
              <mc:Choice xmlns:v="urn:schemas-microsoft-com:vml" Requires="v">
                <p:oleObj spid="_x0000_s4129" name="Worksheet" r:id="rId4" imgW="4572000" imgH="2590698" progId="Excel.Sheet.12">
                  <p:embed/>
                </p:oleObj>
              </mc:Choice>
              <mc:Fallback>
                <p:oleObj name="Worksheet" r:id="rId4" imgW="4572000" imgH="2590698" progId="Excel.Sheet.1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76" y="1124744"/>
                        <a:ext cx="7893032" cy="4464496"/>
                      </a:xfrm>
                      <a:prstGeom prst="rect">
                        <a:avLst/>
                      </a:prstGeom>
                      <a:noFill/>
                    </p:spPr>
                  </p:pic>
                </p:oleObj>
              </mc:Fallback>
            </mc:AlternateContent>
          </a:graphicData>
        </a:graphic>
      </p:graphicFrame>
    </p:spTree>
    <p:extLst>
      <p:ext uri="{BB962C8B-B14F-4D97-AF65-F5344CB8AC3E}">
        <p14:creationId xmlns:p14="http://schemas.microsoft.com/office/powerpoint/2010/main" val="37498416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25682FD2-A730-4731-BC64-57BEF4E31A6B}" type="slidenum">
              <a:rPr lang="en-GB" sz="900" smtClean="0"/>
              <a:pPr eaLnBrk="1" hangingPunct="1"/>
              <a:t>15</a:t>
            </a:fld>
            <a:endParaRPr lang="en-GB" sz="900" smtClean="0"/>
          </a:p>
        </p:txBody>
      </p:sp>
      <p:sp>
        <p:nvSpPr>
          <p:cNvPr id="23557"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21510" name="Text Box 5"/>
          <p:cNvSpPr txBox="1">
            <a:spLocks noChangeArrowheads="1"/>
          </p:cNvSpPr>
          <p:nvPr/>
        </p:nvSpPr>
        <p:spPr bwMode="auto">
          <a:xfrm>
            <a:off x="431800" y="1177925"/>
            <a:ext cx="6119813" cy="58477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5725" indent="-85725" eaLnBrk="0" hangingPunct="0">
              <a:defRPr sz="1600">
                <a:solidFill>
                  <a:schemeClr val="bg1"/>
                </a:solidFill>
                <a:latin typeface="Arial" pitchFamily="34" charset="0"/>
              </a:defRPr>
            </a:lvl1pPr>
            <a:lvl2pPr marL="742950" indent="-285750" eaLnBrk="0" hangingPunct="0">
              <a:defRPr sz="1600">
                <a:solidFill>
                  <a:schemeClr val="bg1"/>
                </a:solidFill>
                <a:latin typeface="Arial" pitchFamily="34" charset="0"/>
              </a:defRPr>
            </a:lvl2pPr>
            <a:lvl3pPr marL="1143000" indent="-228600" eaLnBrk="0" hangingPunct="0">
              <a:defRPr sz="1600">
                <a:solidFill>
                  <a:schemeClr val="bg1"/>
                </a:solidFill>
                <a:latin typeface="Arial" pitchFamily="34" charset="0"/>
              </a:defRPr>
            </a:lvl3pPr>
            <a:lvl4pPr marL="1600200" indent="-228600" eaLnBrk="0" hangingPunct="0">
              <a:defRPr sz="1600">
                <a:solidFill>
                  <a:schemeClr val="bg1"/>
                </a:solidFill>
                <a:latin typeface="Arial" pitchFamily="34" charset="0"/>
              </a:defRPr>
            </a:lvl4pPr>
            <a:lvl5pPr marL="2057400" indent="-228600" eaLnBrk="0" hangingPunct="0">
              <a:defRPr sz="1600">
                <a:solidFill>
                  <a:schemeClr val="bg1"/>
                </a:solidFill>
                <a:latin typeface="Arial" pitchFamily="34" charset="0"/>
              </a:defRPr>
            </a:lvl5pPr>
            <a:lvl6pPr marL="2514600" indent="-228600" eaLnBrk="0" fontAlgn="base" hangingPunct="0">
              <a:spcBef>
                <a:spcPct val="0"/>
              </a:spcBef>
              <a:spcAft>
                <a:spcPct val="0"/>
              </a:spcAft>
              <a:defRPr sz="1600">
                <a:solidFill>
                  <a:schemeClr val="bg1"/>
                </a:solidFill>
                <a:latin typeface="Arial" pitchFamily="34" charset="0"/>
              </a:defRPr>
            </a:lvl6pPr>
            <a:lvl7pPr marL="2971800" indent="-228600" eaLnBrk="0" fontAlgn="base" hangingPunct="0">
              <a:spcBef>
                <a:spcPct val="0"/>
              </a:spcBef>
              <a:spcAft>
                <a:spcPct val="0"/>
              </a:spcAft>
              <a:defRPr sz="1600">
                <a:solidFill>
                  <a:schemeClr val="bg1"/>
                </a:solidFill>
                <a:latin typeface="Arial" pitchFamily="34" charset="0"/>
              </a:defRPr>
            </a:lvl7pPr>
            <a:lvl8pPr marL="3429000" indent="-228600" eaLnBrk="0" fontAlgn="base" hangingPunct="0">
              <a:spcBef>
                <a:spcPct val="0"/>
              </a:spcBef>
              <a:spcAft>
                <a:spcPct val="0"/>
              </a:spcAft>
              <a:defRPr sz="1600">
                <a:solidFill>
                  <a:schemeClr val="bg1"/>
                </a:solidFill>
                <a:latin typeface="Arial" pitchFamily="34" charset="0"/>
              </a:defRPr>
            </a:lvl8pPr>
            <a:lvl9pPr marL="3886200" indent="-228600" eaLnBrk="0" fontAlgn="base" hangingPunct="0">
              <a:spcBef>
                <a:spcPct val="0"/>
              </a:spcBef>
              <a:spcAft>
                <a:spcPct val="0"/>
              </a:spcAft>
              <a:defRPr sz="1600">
                <a:solidFill>
                  <a:schemeClr val="bg1"/>
                </a:solidFill>
                <a:latin typeface="Arial" pitchFamily="34" charset="0"/>
              </a:defRPr>
            </a:lvl9pPr>
          </a:lstStyle>
          <a:p>
            <a:pPr marL="0" indent="0" eaLnBrk="1" hangingPunct="1">
              <a:defRPr/>
            </a:pPr>
            <a:endParaRPr lang="da-DK" sz="1400" dirty="0" smtClean="0"/>
          </a:p>
          <a:p>
            <a:pPr eaLnBrk="1" hangingPunct="1">
              <a:spcBef>
                <a:spcPct val="50000"/>
              </a:spcBef>
              <a:defRPr/>
            </a:pPr>
            <a:endParaRPr lang="da-DK" dirty="0" smtClean="0"/>
          </a:p>
        </p:txBody>
      </p:sp>
      <p:pic>
        <p:nvPicPr>
          <p:cNvPr id="2355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24225"/>
            <a:ext cx="9144000" cy="289560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15900" y="1762700"/>
            <a:ext cx="8712200" cy="352425"/>
          </a:xfrm>
        </p:spPr>
        <p:txBody>
          <a:bodyPr/>
          <a:lstStyle/>
          <a:p>
            <a:r>
              <a:rPr lang="pl-PL" dirty="0" smtClean="0"/>
              <a:t>Doświadczenia </a:t>
            </a:r>
            <a:r>
              <a:rPr lang="pl-PL" dirty="0" err="1" smtClean="0"/>
              <a:t>Vestas</a:t>
            </a:r>
            <a:r>
              <a:rPr lang="pl-PL" dirty="0" smtClean="0"/>
              <a:t> w rozwoju energetyki wiatrowej</a:t>
            </a:r>
            <a:endParaRPr lang="de-DE" dirty="0"/>
          </a:p>
        </p:txBody>
      </p:sp>
    </p:spTree>
    <p:extLst>
      <p:ext uri="{BB962C8B-B14F-4D97-AF65-F5344CB8AC3E}">
        <p14:creationId xmlns:p14="http://schemas.microsoft.com/office/powerpoint/2010/main" val="5276168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3"/>
          <p:cNvSpPr>
            <a:spLocks noGrp="1"/>
          </p:cNvSpPr>
          <p:nvPr>
            <p:ph type="sldNum" sz="quarter" idx="12"/>
          </p:nvPr>
        </p:nvSpPr>
        <p:spPr/>
        <p:txBody>
          <a:bodyPr/>
          <a:lstStyle/>
          <a:p>
            <a:fld id="{BEC4879B-3F74-46A3-981A-358A5217C4D4}" type="slidenum">
              <a:rPr lang="pl-PL"/>
              <a:pPr/>
              <a:t>16</a:t>
            </a:fld>
            <a:endParaRPr lang="pl-PL"/>
          </a:p>
        </p:txBody>
      </p:sp>
      <p:sp>
        <p:nvSpPr>
          <p:cNvPr id="369666" name="Text Box 2"/>
          <p:cNvSpPr txBox="1">
            <a:spLocks noChangeArrowheads="1"/>
          </p:cNvSpPr>
          <p:nvPr/>
        </p:nvSpPr>
        <p:spPr bwMode="auto">
          <a:xfrm>
            <a:off x="465599" y="1532007"/>
            <a:ext cx="7948246"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pPr>
            <a:r>
              <a:rPr lang="pl-PL" sz="2000" dirty="0">
                <a:latin typeface="Arial" charset="0"/>
              </a:rPr>
              <a:t>P</a:t>
            </a:r>
            <a:r>
              <a:rPr lang="pl-PL" sz="2000" dirty="0">
                <a:latin typeface="Arial" charset="0"/>
                <a:cs typeface="Times New Roman" pitchFamily="18" charset="0"/>
              </a:rPr>
              <a:t>rodukcja energii w turbinach wiatrowych zale</a:t>
            </a:r>
            <a:r>
              <a:rPr lang="pl-PL" sz="2000" dirty="0">
                <a:latin typeface="Arial" charset="0"/>
              </a:rPr>
              <a:t>ż</a:t>
            </a:r>
            <a:r>
              <a:rPr lang="pl-PL" sz="2000" dirty="0">
                <a:latin typeface="Arial" charset="0"/>
                <a:cs typeface="Times New Roman" pitchFamily="18" charset="0"/>
              </a:rPr>
              <a:t>y g</a:t>
            </a:r>
            <a:r>
              <a:rPr lang="pl-PL" sz="2000" dirty="0">
                <a:latin typeface="Arial" charset="0"/>
              </a:rPr>
              <a:t>ł</a:t>
            </a:r>
            <a:r>
              <a:rPr lang="pl-PL" sz="2000" dirty="0">
                <a:latin typeface="Arial" charset="0"/>
                <a:cs typeface="Times New Roman" pitchFamily="18" charset="0"/>
              </a:rPr>
              <a:t>ównie</a:t>
            </a:r>
            <a:r>
              <a:rPr lang="pl-PL" sz="2000" dirty="0">
                <a:latin typeface="Arial" charset="0"/>
              </a:rPr>
              <a:t> </a:t>
            </a:r>
            <a:r>
              <a:rPr lang="pl-PL" sz="2000" dirty="0">
                <a:latin typeface="Arial" charset="0"/>
                <a:cs typeface="Times New Roman" pitchFamily="18" charset="0"/>
              </a:rPr>
              <a:t>od pr</a:t>
            </a:r>
            <a:r>
              <a:rPr lang="pl-PL" sz="2000" dirty="0">
                <a:latin typeface="Arial" charset="0"/>
              </a:rPr>
              <a:t>ę</a:t>
            </a:r>
            <a:r>
              <a:rPr lang="pl-PL" sz="2000" dirty="0">
                <a:latin typeface="Arial" charset="0"/>
                <a:cs typeface="Times New Roman" pitchFamily="18" charset="0"/>
              </a:rPr>
              <a:t>dko</a:t>
            </a:r>
            <a:r>
              <a:rPr lang="pl-PL" sz="2000" dirty="0">
                <a:latin typeface="Arial" charset="0"/>
              </a:rPr>
              <a:t>ś</a:t>
            </a:r>
            <a:r>
              <a:rPr lang="pl-PL" sz="2000" dirty="0">
                <a:latin typeface="Arial" charset="0"/>
                <a:cs typeface="Times New Roman" pitchFamily="18" charset="0"/>
              </a:rPr>
              <a:t>ci wiatru</a:t>
            </a:r>
            <a:r>
              <a:rPr lang="pl-PL" sz="2000" dirty="0">
                <a:latin typeface="Arial" charset="0"/>
              </a:rPr>
              <a:t> (</a:t>
            </a:r>
            <a:r>
              <a:rPr lang="pl-PL" sz="2000" i="1" dirty="0">
                <a:latin typeface="Arial" charset="0"/>
                <a:sym typeface="Symbol" pitchFamily="18" charset="2"/>
              </a:rPr>
              <a:t></a:t>
            </a:r>
            <a:r>
              <a:rPr lang="pl-PL" sz="2000" dirty="0">
                <a:latin typeface="Arial" charset="0"/>
              </a:rPr>
              <a:t>)</a:t>
            </a:r>
            <a:r>
              <a:rPr lang="pl-PL" sz="2000" dirty="0">
                <a:latin typeface="Arial" charset="0"/>
                <a:cs typeface="Times New Roman" pitchFamily="18" charset="0"/>
              </a:rPr>
              <a:t> na terenie, na którym jest zlokalizowana elektrownia wiatrowa</a:t>
            </a:r>
            <a:r>
              <a:rPr lang="pl-PL" sz="2000" dirty="0">
                <a:latin typeface="Arial" charset="0"/>
              </a:rPr>
              <a:t>.</a:t>
            </a:r>
            <a:r>
              <a:rPr lang="pl-PL" sz="2400" dirty="0"/>
              <a:t> </a:t>
            </a:r>
          </a:p>
        </p:txBody>
      </p:sp>
      <p:sp>
        <p:nvSpPr>
          <p:cNvPr id="369667" name="Rectangle 3"/>
          <p:cNvSpPr>
            <a:spLocks noChangeArrowheads="1"/>
          </p:cNvSpPr>
          <p:nvPr/>
        </p:nvSpPr>
        <p:spPr bwMode="auto">
          <a:xfrm>
            <a:off x="2848708" y="1885950"/>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de-DE"/>
          </a:p>
        </p:txBody>
      </p:sp>
      <p:pic>
        <p:nvPicPr>
          <p:cNvPr id="36966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61" y="2501881"/>
            <a:ext cx="3949212" cy="3535363"/>
          </a:xfrm>
          <a:prstGeom prst="rect">
            <a:avLst/>
          </a:prstGeom>
          <a:noFill/>
          <a:extLst>
            <a:ext uri="{909E8E84-426E-40DD-AFC4-6F175D3DCCD1}">
              <a14:hiddenFill xmlns:a14="http://schemas.microsoft.com/office/drawing/2010/main">
                <a:solidFill>
                  <a:srgbClr val="FFFFFF"/>
                </a:solidFill>
              </a14:hiddenFill>
            </a:ext>
          </a:extLst>
        </p:spPr>
      </p:pic>
      <p:sp>
        <p:nvSpPr>
          <p:cNvPr id="369669" name="Rectangle 5"/>
          <p:cNvSpPr>
            <a:spLocks noChangeArrowheads="1"/>
          </p:cNvSpPr>
          <p:nvPr/>
        </p:nvSpPr>
        <p:spPr bwMode="auto">
          <a:xfrm>
            <a:off x="3257550" y="2947988"/>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de-DE"/>
          </a:p>
        </p:txBody>
      </p:sp>
      <p:sp>
        <p:nvSpPr>
          <p:cNvPr id="369670" name="Text Box 6"/>
          <p:cNvSpPr txBox="1">
            <a:spLocks noChangeArrowheads="1"/>
          </p:cNvSpPr>
          <p:nvPr/>
        </p:nvSpPr>
        <p:spPr bwMode="auto">
          <a:xfrm>
            <a:off x="317989" y="260351"/>
            <a:ext cx="8641373"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pl-PL" sz="2800" b="1" dirty="0">
                <a:solidFill>
                  <a:schemeClr val="bg1"/>
                </a:solidFill>
                <a:latin typeface="Arial" charset="0"/>
              </a:rPr>
              <a:t>Charakterystyka wytwarzania </a:t>
            </a:r>
            <a:r>
              <a:rPr lang="pl-PL" sz="2800" b="1" dirty="0" smtClean="0">
                <a:solidFill>
                  <a:schemeClr val="bg1"/>
                </a:solidFill>
                <a:latin typeface="Arial" charset="0"/>
              </a:rPr>
              <a:t>w </a:t>
            </a:r>
            <a:r>
              <a:rPr lang="pl-PL" sz="2800" b="1" dirty="0">
                <a:solidFill>
                  <a:schemeClr val="bg1"/>
                </a:solidFill>
                <a:latin typeface="Arial" charset="0"/>
              </a:rPr>
              <a:t>turbozespołach wiatrowych</a:t>
            </a:r>
          </a:p>
        </p:txBody>
      </p:sp>
      <p:graphicFrame>
        <p:nvGraphicFramePr>
          <p:cNvPr id="369671" name="Object 7"/>
          <p:cNvGraphicFramePr>
            <a:graphicFrameLocks noChangeAspect="1"/>
          </p:cNvGraphicFramePr>
          <p:nvPr>
            <p:extLst>
              <p:ext uri="{D42A27DB-BD31-4B8C-83A1-F6EECF244321}">
                <p14:modId xmlns:p14="http://schemas.microsoft.com/office/powerpoint/2010/main" val="3162494302"/>
              </p:ext>
            </p:extLst>
          </p:nvPr>
        </p:nvGraphicFramePr>
        <p:xfrm>
          <a:off x="3997569" y="2507343"/>
          <a:ext cx="4857750" cy="3635375"/>
        </p:xfrm>
        <a:graphic>
          <a:graphicData uri="http://schemas.openxmlformats.org/presentationml/2006/ole">
            <mc:AlternateContent xmlns:mc="http://schemas.openxmlformats.org/markup-compatibility/2006">
              <mc:Choice xmlns:v="urn:schemas-microsoft-com:vml" Requires="v">
                <p:oleObj spid="_x0000_s6175" name="Wykres" r:id="rId4" imgW="5734050" imgH="4010025" progId="Excel.Chart.8">
                  <p:embed/>
                </p:oleObj>
              </mc:Choice>
              <mc:Fallback>
                <p:oleObj name="Wykres" r:id="rId4" imgW="5734050" imgH="4010025"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97569" y="2507343"/>
                        <a:ext cx="4857750" cy="363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9672" name="Rectangle 8"/>
          <p:cNvSpPr>
            <a:spLocks noChangeArrowheads="1"/>
          </p:cNvSpPr>
          <p:nvPr/>
        </p:nvSpPr>
        <p:spPr bwMode="auto">
          <a:xfrm>
            <a:off x="4681971" y="6138864"/>
            <a:ext cx="3681046"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pl-PL" sz="1000" b="1" dirty="0">
                <a:latin typeface="Arial" charset="0"/>
                <a:cs typeface="Times New Roman" pitchFamily="18" charset="0"/>
              </a:rPr>
              <a:t>Przyk</a:t>
            </a:r>
            <a:r>
              <a:rPr lang="pl-PL" sz="1000" b="1" dirty="0">
                <a:latin typeface="Arial" charset="0"/>
              </a:rPr>
              <a:t>ł</a:t>
            </a:r>
            <a:r>
              <a:rPr lang="pl-PL" sz="1000" b="1" dirty="0">
                <a:latin typeface="Arial" charset="0"/>
                <a:cs typeface="Times New Roman" pitchFamily="18" charset="0"/>
              </a:rPr>
              <a:t>adowe krzywe mocy zidentyfikowanych typów turbozespo</a:t>
            </a:r>
            <a:r>
              <a:rPr lang="pl-PL" sz="1000" b="1" dirty="0">
                <a:latin typeface="Arial" charset="0"/>
              </a:rPr>
              <a:t>ł</a:t>
            </a:r>
            <a:r>
              <a:rPr lang="pl-PL" sz="1000" b="1" dirty="0">
                <a:latin typeface="Arial" charset="0"/>
                <a:cs typeface="Times New Roman" pitchFamily="18" charset="0"/>
              </a:rPr>
              <a:t>ów wiatrow</a:t>
            </a:r>
            <a:r>
              <a:rPr lang="pl-PL" sz="1000" b="1" dirty="0">
                <a:latin typeface="Arial" charset="0"/>
              </a:rPr>
              <a:t>ych </a:t>
            </a:r>
          </a:p>
        </p:txBody>
      </p:sp>
      <p:sp>
        <p:nvSpPr>
          <p:cNvPr id="369673" name="Rectangle 9"/>
          <p:cNvSpPr>
            <a:spLocks noChangeArrowheads="1"/>
          </p:cNvSpPr>
          <p:nvPr/>
        </p:nvSpPr>
        <p:spPr bwMode="auto">
          <a:xfrm>
            <a:off x="331944" y="5983358"/>
            <a:ext cx="368104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pl-PL" sz="1000" b="1" dirty="0">
                <a:latin typeface="Arial" charset="0"/>
              </a:rPr>
              <a:t>Krzywa mocy wytwarzanej w turbozespole wiatrowym: </a:t>
            </a:r>
            <a:br>
              <a:rPr lang="pl-PL" sz="1000" b="1" dirty="0">
                <a:latin typeface="Arial" charset="0"/>
              </a:rPr>
            </a:br>
            <a:r>
              <a:rPr lang="pl-PL" sz="1000" b="1" i="1" dirty="0">
                <a:latin typeface="Arial" charset="0"/>
                <a:sym typeface="Symbol" pitchFamily="18" charset="2"/>
              </a:rPr>
              <a:t></a:t>
            </a:r>
            <a:r>
              <a:rPr lang="pl-PL" sz="1000" b="1" i="1" baseline="-25000" dirty="0">
                <a:latin typeface="Arial" charset="0"/>
              </a:rPr>
              <a:t>r</a:t>
            </a:r>
            <a:r>
              <a:rPr lang="pl-PL" sz="1000" b="1" dirty="0">
                <a:latin typeface="Arial" charset="0"/>
              </a:rPr>
              <a:t> – prędkość „rozruchowa” (startu, włączenia) turbozespołu, </a:t>
            </a:r>
            <a:r>
              <a:rPr lang="pl-PL" sz="1000" b="1" i="1" dirty="0">
                <a:latin typeface="Arial" charset="0"/>
                <a:sym typeface="Symbol" pitchFamily="18" charset="2"/>
              </a:rPr>
              <a:t></a:t>
            </a:r>
            <a:r>
              <a:rPr lang="pl-PL" sz="1000" b="1" i="1" baseline="-25000" dirty="0">
                <a:latin typeface="Arial" charset="0"/>
              </a:rPr>
              <a:t>o</a:t>
            </a:r>
            <a:r>
              <a:rPr lang="pl-PL" sz="1000" b="1" dirty="0">
                <a:latin typeface="Arial" charset="0"/>
              </a:rPr>
              <a:t> – prędkość „odcięcia” (wyłączenia) turbozespołu</a:t>
            </a:r>
            <a:r>
              <a:rPr lang="pl-PL" sz="1000" dirty="0">
                <a:latin typeface="Arial" charset="0"/>
              </a:rPr>
              <a:t> </a:t>
            </a:r>
          </a:p>
        </p:txBody>
      </p:sp>
    </p:spTree>
    <p:extLst>
      <p:ext uri="{BB962C8B-B14F-4D97-AF65-F5344CB8AC3E}">
        <p14:creationId xmlns:p14="http://schemas.microsoft.com/office/powerpoint/2010/main" val="2397406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6"/>
          <p:cNvSpPr>
            <a:spLocks noGrp="1"/>
          </p:cNvSpPr>
          <p:nvPr>
            <p:ph type="sldNum" sz="quarter" idx="12"/>
          </p:nvPr>
        </p:nvSpPr>
        <p:spPr/>
        <p:txBody>
          <a:bodyPr/>
          <a:lstStyle/>
          <a:p>
            <a:fld id="{AB88903A-EB2F-4E1C-8388-25C2ED8E4A43}" type="slidenum">
              <a:rPr lang="pl-PL"/>
              <a:pPr/>
              <a:t>17</a:t>
            </a:fld>
            <a:endParaRPr lang="pl-PL"/>
          </a:p>
        </p:txBody>
      </p:sp>
      <p:sp>
        <p:nvSpPr>
          <p:cNvPr id="368644" name="Rectangle 4"/>
          <p:cNvSpPr>
            <a:spLocks noGrp="1" noChangeArrowheads="1"/>
          </p:cNvSpPr>
          <p:nvPr>
            <p:ph type="title"/>
          </p:nvPr>
        </p:nvSpPr>
        <p:spPr>
          <a:noFill/>
          <a:ln/>
        </p:spPr>
        <p:txBody>
          <a:bodyPr/>
          <a:lstStyle/>
          <a:p>
            <a:r>
              <a:rPr lang="pl-PL" sz="2800" b="1" dirty="0">
                <a:latin typeface="Arial" charset="0"/>
              </a:rPr>
              <a:t>Charakterystyki probabilistyczne wiatru</a:t>
            </a:r>
          </a:p>
        </p:txBody>
      </p:sp>
      <p:graphicFrame>
        <p:nvGraphicFramePr>
          <p:cNvPr id="368642" name="Object 2"/>
          <p:cNvGraphicFramePr>
            <a:graphicFrameLocks noGrp="1" noChangeAspect="1"/>
          </p:cNvGraphicFramePr>
          <p:nvPr>
            <p:ph sz="half" idx="1"/>
          </p:nvPr>
        </p:nvGraphicFramePr>
        <p:xfrm>
          <a:off x="4794739" y="2058988"/>
          <a:ext cx="4025412" cy="3779837"/>
        </p:xfrm>
        <a:graphic>
          <a:graphicData uri="http://schemas.openxmlformats.org/presentationml/2006/ole">
            <mc:AlternateContent xmlns:mc="http://schemas.openxmlformats.org/markup-compatibility/2006">
              <mc:Choice xmlns:v="urn:schemas-microsoft-com:vml" Requires="v">
                <p:oleObj spid="_x0000_s5180" name="Dokument" r:id="rId3" imgW="5074709" imgH="4399175" progId="Word.Document.8">
                  <p:embed/>
                </p:oleObj>
              </mc:Choice>
              <mc:Fallback>
                <p:oleObj name="Dokument" r:id="rId3" imgW="5074709" imgH="4399175" progId="Word.Documen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94739" y="2058988"/>
                        <a:ext cx="4025412" cy="3779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68643" name="Text Box 3"/>
          <p:cNvSpPr txBox="1">
            <a:spLocks noChangeArrowheads="1"/>
          </p:cNvSpPr>
          <p:nvPr/>
        </p:nvSpPr>
        <p:spPr bwMode="auto">
          <a:xfrm>
            <a:off x="4800600" y="5441951"/>
            <a:ext cx="43434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pl-PL" sz="1400" b="1">
                <a:latin typeface="Arial" charset="0"/>
              </a:rPr>
              <a:t>Przykład rozkładu prędkości wiatru </a:t>
            </a:r>
            <a:br>
              <a:rPr lang="pl-PL" sz="1400" b="1">
                <a:latin typeface="Arial" charset="0"/>
              </a:rPr>
            </a:br>
            <a:r>
              <a:rPr lang="pl-PL" sz="1400" b="1">
                <a:latin typeface="Arial" charset="0"/>
              </a:rPr>
              <a:t>oraz aproksymacja za pomocą rozkładu Weibulla</a:t>
            </a:r>
          </a:p>
        </p:txBody>
      </p:sp>
      <p:graphicFrame>
        <p:nvGraphicFramePr>
          <p:cNvPr id="368645" name="Object 5"/>
          <p:cNvGraphicFramePr>
            <a:graphicFrameLocks noGrp="1" noChangeAspect="1"/>
          </p:cNvGraphicFramePr>
          <p:nvPr>
            <p:ph sz="half" idx="2"/>
          </p:nvPr>
        </p:nvGraphicFramePr>
        <p:xfrm>
          <a:off x="485043" y="2381250"/>
          <a:ext cx="3856892" cy="2628900"/>
        </p:xfrm>
        <a:graphic>
          <a:graphicData uri="http://schemas.openxmlformats.org/presentationml/2006/ole">
            <mc:AlternateContent xmlns:mc="http://schemas.openxmlformats.org/markup-compatibility/2006">
              <mc:Choice xmlns:v="urn:schemas-microsoft-com:vml" Requires="v">
                <p:oleObj spid="_x0000_s5181" name="Dokument" r:id="rId5" imgW="3733889" imgH="2350072" progId="Word.Document.8">
                  <p:embed/>
                </p:oleObj>
              </mc:Choice>
              <mc:Fallback>
                <p:oleObj name="Dokument" r:id="rId5" imgW="3733889" imgH="2350072" progId="Word.Documen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5043" y="2381250"/>
                        <a:ext cx="3856892" cy="262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68647" name="Text Box 7"/>
          <p:cNvSpPr txBox="1">
            <a:spLocks noChangeArrowheads="1"/>
          </p:cNvSpPr>
          <p:nvPr/>
        </p:nvSpPr>
        <p:spPr bwMode="auto">
          <a:xfrm>
            <a:off x="263769" y="5416551"/>
            <a:ext cx="43434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pl-PL" sz="1400" b="1" dirty="0">
                <a:latin typeface="Arial" charset="0"/>
              </a:rPr>
              <a:t>Roczna zmienność prędkości wiatru dla lokalizacji Wolin (zmierzone w </a:t>
            </a:r>
            <a:r>
              <a:rPr lang="pl-PL" sz="1400" b="1" dirty="0" smtClean="0">
                <a:latin typeface="Arial" charset="0"/>
              </a:rPr>
              <a:t>20</a:t>
            </a:r>
            <a:r>
              <a:rPr lang="en-US" sz="1400" b="1" dirty="0" smtClean="0">
                <a:latin typeface="Arial" charset="0"/>
              </a:rPr>
              <a:t>11</a:t>
            </a:r>
            <a:r>
              <a:rPr lang="pl-PL" sz="1400" b="1" dirty="0" smtClean="0">
                <a:latin typeface="Arial" charset="0"/>
              </a:rPr>
              <a:t> </a:t>
            </a:r>
            <a:r>
              <a:rPr lang="pl-PL" sz="1400" b="1" dirty="0">
                <a:latin typeface="Arial" charset="0"/>
              </a:rPr>
              <a:t>r.)</a:t>
            </a:r>
          </a:p>
        </p:txBody>
      </p:sp>
    </p:spTree>
    <p:extLst>
      <p:ext uri="{BB962C8B-B14F-4D97-AF65-F5344CB8AC3E}">
        <p14:creationId xmlns:p14="http://schemas.microsoft.com/office/powerpoint/2010/main" val="3134413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823178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1" name="think-cell Slide" r:id="rId6" imgW="429" imgH="429" progId="TCLayout.ActiveDocument.1">
                  <p:embed/>
                </p:oleObj>
              </mc:Choice>
              <mc:Fallback>
                <p:oleObj name="think-cell Slide" r:id="rId6" imgW="429" imgH="429"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14" name="Rectangle 2"/>
          <p:cNvSpPr txBox="1">
            <a:spLocks noChangeArrowheads="1"/>
          </p:cNvSpPr>
          <p:nvPr/>
        </p:nvSpPr>
        <p:spPr bwMode="auto">
          <a:xfrm>
            <a:off x="215900" y="244475"/>
            <a:ext cx="8712200"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0" fontAlgn="base" hangingPunct="0">
              <a:lnSpc>
                <a:spcPct val="96000"/>
              </a:lnSpc>
              <a:spcBef>
                <a:spcPct val="0"/>
              </a:spcBef>
              <a:spcAft>
                <a:spcPct val="0"/>
              </a:spcAft>
              <a:defRPr sz="2400">
                <a:solidFill>
                  <a:schemeClr val="bg1"/>
                </a:solidFill>
                <a:latin typeface="+mj-lt"/>
                <a:ea typeface="+mj-ea"/>
                <a:cs typeface="+mj-cs"/>
              </a:defRPr>
            </a:lvl1pPr>
            <a:lvl2pPr algn="l" rtl="0" eaLnBrk="0" fontAlgn="base" hangingPunct="0">
              <a:lnSpc>
                <a:spcPct val="96000"/>
              </a:lnSpc>
              <a:spcBef>
                <a:spcPct val="0"/>
              </a:spcBef>
              <a:spcAft>
                <a:spcPct val="0"/>
              </a:spcAft>
              <a:defRPr sz="2400">
                <a:solidFill>
                  <a:schemeClr val="bg1"/>
                </a:solidFill>
                <a:latin typeface="Arial" charset="0"/>
              </a:defRPr>
            </a:lvl2pPr>
            <a:lvl3pPr algn="l" rtl="0" eaLnBrk="0" fontAlgn="base" hangingPunct="0">
              <a:lnSpc>
                <a:spcPct val="96000"/>
              </a:lnSpc>
              <a:spcBef>
                <a:spcPct val="0"/>
              </a:spcBef>
              <a:spcAft>
                <a:spcPct val="0"/>
              </a:spcAft>
              <a:defRPr sz="2400">
                <a:solidFill>
                  <a:schemeClr val="bg1"/>
                </a:solidFill>
                <a:latin typeface="Arial" charset="0"/>
              </a:defRPr>
            </a:lvl3pPr>
            <a:lvl4pPr algn="l" rtl="0" eaLnBrk="0" fontAlgn="base" hangingPunct="0">
              <a:lnSpc>
                <a:spcPct val="96000"/>
              </a:lnSpc>
              <a:spcBef>
                <a:spcPct val="0"/>
              </a:spcBef>
              <a:spcAft>
                <a:spcPct val="0"/>
              </a:spcAft>
              <a:defRPr sz="2400">
                <a:solidFill>
                  <a:schemeClr val="bg1"/>
                </a:solidFill>
                <a:latin typeface="Arial" charset="0"/>
              </a:defRPr>
            </a:lvl4pPr>
            <a:lvl5pPr algn="l" rtl="0" eaLnBrk="0" fontAlgn="base" hangingPunct="0">
              <a:lnSpc>
                <a:spcPct val="96000"/>
              </a:lnSpc>
              <a:spcBef>
                <a:spcPct val="0"/>
              </a:spcBef>
              <a:spcAft>
                <a:spcPct val="0"/>
              </a:spcAft>
              <a:defRPr sz="2400">
                <a:solidFill>
                  <a:schemeClr val="bg1"/>
                </a:solidFill>
                <a:latin typeface="Arial" charset="0"/>
              </a:defRPr>
            </a:lvl5pPr>
            <a:lvl6pPr marL="457200" algn="l" rtl="0" fontAlgn="base">
              <a:lnSpc>
                <a:spcPct val="96000"/>
              </a:lnSpc>
              <a:spcBef>
                <a:spcPct val="0"/>
              </a:spcBef>
              <a:spcAft>
                <a:spcPct val="0"/>
              </a:spcAft>
              <a:defRPr sz="2400">
                <a:solidFill>
                  <a:schemeClr val="bg1"/>
                </a:solidFill>
                <a:latin typeface="Arial" charset="0"/>
              </a:defRPr>
            </a:lvl6pPr>
            <a:lvl7pPr marL="914400" algn="l" rtl="0" fontAlgn="base">
              <a:lnSpc>
                <a:spcPct val="96000"/>
              </a:lnSpc>
              <a:spcBef>
                <a:spcPct val="0"/>
              </a:spcBef>
              <a:spcAft>
                <a:spcPct val="0"/>
              </a:spcAft>
              <a:defRPr sz="2400">
                <a:solidFill>
                  <a:schemeClr val="bg1"/>
                </a:solidFill>
                <a:latin typeface="Arial" charset="0"/>
              </a:defRPr>
            </a:lvl7pPr>
            <a:lvl8pPr marL="1371600" algn="l" rtl="0" fontAlgn="base">
              <a:lnSpc>
                <a:spcPct val="96000"/>
              </a:lnSpc>
              <a:spcBef>
                <a:spcPct val="0"/>
              </a:spcBef>
              <a:spcAft>
                <a:spcPct val="0"/>
              </a:spcAft>
              <a:defRPr sz="2400">
                <a:solidFill>
                  <a:schemeClr val="bg1"/>
                </a:solidFill>
                <a:latin typeface="Arial" charset="0"/>
              </a:defRPr>
            </a:lvl8pPr>
            <a:lvl9pPr marL="1828800" algn="l" rtl="0" fontAlgn="base">
              <a:lnSpc>
                <a:spcPct val="96000"/>
              </a:lnSpc>
              <a:spcBef>
                <a:spcPct val="0"/>
              </a:spcBef>
              <a:spcAft>
                <a:spcPct val="0"/>
              </a:spcAft>
              <a:defRPr sz="2400">
                <a:solidFill>
                  <a:schemeClr val="bg1"/>
                </a:solidFill>
                <a:latin typeface="Arial" charset="0"/>
              </a:defRPr>
            </a:lvl9pPr>
          </a:lstStyle>
          <a:p>
            <a:r>
              <a:rPr lang="pl-PL" sz="2600" b="1" dirty="0" smtClean="0"/>
              <a:t>Potencjał rozwoju energetyki wiatrowej </a:t>
            </a:r>
            <a:endParaRPr lang="en-GB" sz="2600" b="1" dirty="0"/>
          </a:p>
        </p:txBody>
      </p:sp>
      <p:sp>
        <p:nvSpPr>
          <p:cNvPr id="15" name="Text Box 21"/>
          <p:cNvSpPr txBox="1">
            <a:spLocks noChangeArrowheads="1"/>
          </p:cNvSpPr>
          <p:nvPr/>
        </p:nvSpPr>
        <p:spPr bwMode="auto">
          <a:xfrm>
            <a:off x="215900" y="661988"/>
            <a:ext cx="87122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nSpc>
                <a:spcPts val="1900"/>
              </a:lnSpc>
              <a:spcBef>
                <a:spcPct val="50000"/>
              </a:spcBef>
            </a:pPr>
            <a:r>
              <a:rPr lang="pl-PL" sz="1600" dirty="0" smtClean="0">
                <a:solidFill>
                  <a:schemeClr val="hlink"/>
                </a:solidFill>
              </a:rPr>
              <a:t>V112- 3.0 MW i </a:t>
            </a:r>
            <a:r>
              <a:rPr lang="en-GB" sz="1600" dirty="0" smtClean="0">
                <a:solidFill>
                  <a:schemeClr val="hlink"/>
                </a:solidFill>
              </a:rPr>
              <a:t>V126-3.0 MW™</a:t>
            </a:r>
            <a:endParaRPr lang="en-GB" sz="1600" dirty="0">
              <a:solidFill>
                <a:schemeClr val="hlink"/>
              </a:solidFill>
            </a:endParaRPr>
          </a:p>
        </p:txBody>
      </p:sp>
      <p:sp>
        <p:nvSpPr>
          <p:cNvPr id="17" name="Slide Number Placeholder 4"/>
          <p:cNvSpPr>
            <a:spLocks noGrp="1"/>
          </p:cNvSpPr>
          <p:nvPr>
            <p:ph type="sldNum" sz="quarter" idx="12"/>
            <p:custDataLst>
              <p:tags r:id="rId3"/>
            </p:custDataLst>
          </p:nvPr>
        </p:nvSpPr>
        <p:spPr>
          <a:xfrm>
            <a:off x="215900" y="6484938"/>
            <a:ext cx="287338" cy="144462"/>
          </a:xfrm>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algn="ctr" eaLnBrk="0" fontAlgn="base" hangingPunct="0">
              <a:spcBef>
                <a:spcPct val="0"/>
              </a:spcBef>
              <a:spcAft>
                <a:spcPct val="0"/>
              </a:spcAft>
              <a:defRPr sz="1600">
                <a:solidFill>
                  <a:schemeClr val="bg1"/>
                </a:solidFill>
                <a:latin typeface="Arial" charset="0"/>
              </a:defRPr>
            </a:lvl6pPr>
            <a:lvl7pPr marL="2971800" indent="-228600" algn="ctr" eaLnBrk="0" fontAlgn="base" hangingPunct="0">
              <a:spcBef>
                <a:spcPct val="0"/>
              </a:spcBef>
              <a:spcAft>
                <a:spcPct val="0"/>
              </a:spcAft>
              <a:defRPr sz="1600">
                <a:solidFill>
                  <a:schemeClr val="bg1"/>
                </a:solidFill>
                <a:latin typeface="Arial" charset="0"/>
              </a:defRPr>
            </a:lvl7pPr>
            <a:lvl8pPr marL="3429000" indent="-228600" algn="ctr" eaLnBrk="0" fontAlgn="base" hangingPunct="0">
              <a:spcBef>
                <a:spcPct val="0"/>
              </a:spcBef>
              <a:spcAft>
                <a:spcPct val="0"/>
              </a:spcAft>
              <a:defRPr sz="1600">
                <a:solidFill>
                  <a:schemeClr val="bg1"/>
                </a:solidFill>
                <a:latin typeface="Arial" charset="0"/>
              </a:defRPr>
            </a:lvl8pPr>
            <a:lvl9pPr marL="3886200" indent="-228600" algn="ctr" eaLnBrk="0" fontAlgn="base" hangingPunct="0">
              <a:spcBef>
                <a:spcPct val="0"/>
              </a:spcBef>
              <a:spcAft>
                <a:spcPct val="0"/>
              </a:spcAft>
              <a:defRPr sz="1600">
                <a:solidFill>
                  <a:schemeClr val="bg1"/>
                </a:solidFill>
                <a:latin typeface="Arial" charset="0"/>
              </a:defRPr>
            </a:lvl9pPr>
          </a:lstStyle>
          <a:p>
            <a:pPr eaLnBrk="1" hangingPunct="1"/>
            <a:fld id="{BD80FCD4-4D21-47F3-A639-CE6375A08659}" type="slidenum">
              <a:rPr lang="en-GB" sz="900" smtClean="0">
                <a:solidFill>
                  <a:srgbClr val="000000"/>
                </a:solidFill>
              </a:rPr>
              <a:pPr eaLnBrk="1" hangingPunct="1"/>
              <a:t>18</a:t>
            </a:fld>
            <a:endParaRPr lang="en-GB" sz="900" smtClean="0">
              <a:solidFill>
                <a:srgbClr val="000000"/>
              </a:solidFill>
            </a:endParaRPr>
          </a:p>
        </p:txBody>
      </p:sp>
      <p:pic>
        <p:nvPicPr>
          <p:cNvPr id="21590" name="Picture 86" descr="C:\Users\erask\Desktop\wsp_120m_mask (3).jpg"/>
          <p:cNvPicPr>
            <a:picLocks noChangeAspect="1" noChangeArrowheads="1"/>
          </p:cNvPicPr>
          <p:nvPr/>
        </p:nvPicPr>
        <p:blipFill rotWithShape="1">
          <a:blip r:embed="rId8" cstate="print">
            <a:clrChange>
              <a:clrFrom>
                <a:srgbClr val="FFFFFF"/>
              </a:clrFrom>
              <a:clrTo>
                <a:srgbClr val="FFFFFF">
                  <a:alpha val="0"/>
                </a:srgbClr>
              </a:clrTo>
            </a:clrChange>
            <a:extLst>
              <a:ext uri="{BEBA8EAE-BF5A-486C-A8C5-ECC9F3942E4B}">
                <a14:imgProps xmlns:a14="http://schemas.microsoft.com/office/drawing/2010/main">
                  <a14:imgLayer r:embed="rId9">
                    <a14:imgEffect>
                      <a14:backgroundRemoval t="0" b="92182" l="0" r="99824">
                        <a14:foregroundMark x1="18941" y1="83636" x2="89412" y2="84364"/>
                        <a14:foregroundMark x1="20235" y1="89000" x2="83412" y2="90000"/>
                        <a14:foregroundMark x1="88118" y1="90227" x2="15824" y2="90227"/>
                        <a14:foregroundMark x1="18000" y1="89727" x2="34412" y2="91182"/>
                        <a14:foregroundMark x1="87176" y1="90727" x2="35412" y2="90727"/>
                        <a14:foregroundMark x1="92882" y1="76318" x2="22765" y2="76545"/>
                        <a14:foregroundMark x1="7882" y1="8955" x2="8824" y2="78000"/>
                        <a14:foregroundMark x1="9176" y1="4318" x2="99824" y2="4545"/>
                        <a14:foregroundMark x1="93529" y1="91182" x2="96353" y2="136"/>
                        <a14:foregroundMark x1="96059" y1="91182" x2="0" y2="91909"/>
                      </a14:backgroundRemoval>
                    </a14:imgEffect>
                  </a14:imgLayer>
                </a14:imgProps>
              </a:ext>
              <a:ext uri="{28A0092B-C50C-407E-A947-70E740481C1C}">
                <a14:useLocalDpi xmlns:a14="http://schemas.microsoft.com/office/drawing/2010/main" val="0"/>
              </a:ext>
            </a:extLst>
          </a:blip>
          <a:srcRect l="4317" t="2236" r="3012" b="20946"/>
          <a:stretch/>
        </p:blipFill>
        <p:spPr bwMode="auto">
          <a:xfrm>
            <a:off x="1043608" y="1028700"/>
            <a:ext cx="4359994" cy="4677085"/>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5477020" y="2878807"/>
            <a:ext cx="3162904" cy="1077218"/>
          </a:xfrm>
          <a:prstGeom prst="rect">
            <a:avLst/>
          </a:prstGeom>
          <a:noFill/>
        </p:spPr>
        <p:txBody>
          <a:bodyPr wrap="square" rtlCol="0">
            <a:spAutoFit/>
          </a:bodyPr>
          <a:lstStyle/>
          <a:p>
            <a:pPr fontAlgn="auto">
              <a:spcBef>
                <a:spcPts val="0"/>
              </a:spcBef>
              <a:spcAft>
                <a:spcPts val="0"/>
              </a:spcAft>
            </a:pPr>
            <a:r>
              <a:rPr lang="pl-PL" sz="1600" dirty="0" smtClean="0">
                <a:solidFill>
                  <a:schemeClr val="bg1"/>
                </a:solidFill>
                <a:latin typeface="Arial"/>
              </a:rPr>
              <a:t>Obszary na których występują, średnie i niskie prędkości wiatru stanowią więcej niż </a:t>
            </a:r>
            <a:r>
              <a:rPr lang="de-DE" sz="1600" b="1" dirty="0" smtClean="0">
                <a:solidFill>
                  <a:schemeClr val="bg1"/>
                </a:solidFill>
                <a:latin typeface="Arial"/>
              </a:rPr>
              <a:t>2/3 </a:t>
            </a:r>
            <a:r>
              <a:rPr lang="pl-PL" sz="1600" dirty="0" smtClean="0">
                <a:solidFill>
                  <a:schemeClr val="bg1"/>
                </a:solidFill>
                <a:latin typeface="Arial"/>
              </a:rPr>
              <a:t>powierzchni Europy</a:t>
            </a:r>
            <a:r>
              <a:rPr lang="de-DE" sz="1600" dirty="0" smtClean="0">
                <a:solidFill>
                  <a:schemeClr val="bg1"/>
                </a:solidFill>
                <a:latin typeface="Arial"/>
              </a:rPr>
              <a:t>* </a:t>
            </a:r>
            <a:endParaRPr lang="en-GB" sz="1600" dirty="0">
              <a:solidFill>
                <a:schemeClr val="bg1"/>
              </a:solidFill>
              <a:latin typeface="Arial"/>
            </a:endParaRPr>
          </a:p>
        </p:txBody>
      </p:sp>
      <p:pic>
        <p:nvPicPr>
          <p:cNvPr id="9" name="Picture 86" descr="C:\Users\erask\Desktop\wsp_120m_mask (3).jpg"/>
          <p:cNvPicPr>
            <a:picLocks noChangeAspect="1" noChangeArrowheads="1"/>
          </p:cNvPicPr>
          <p:nvPr/>
        </p:nvPicPr>
        <p:blipFill rotWithShape="1">
          <a:blip r:embed="rId8" cstate="print">
            <a:clrChange>
              <a:clrFrom>
                <a:srgbClr val="FEFEFE"/>
              </a:clrFrom>
              <a:clrTo>
                <a:srgbClr val="FEFEFE">
                  <a:alpha val="0"/>
                </a:srgbClr>
              </a:clrTo>
            </a:clrChange>
            <a:extLst>
              <a:ext uri="{BEBA8EAE-BF5A-486C-A8C5-ECC9F3942E4B}">
                <a14:imgProps xmlns:a14="http://schemas.microsoft.com/office/drawing/2010/main">
                  <a14:imgLayer r:embed="rId9">
                    <a14:imgEffect>
                      <a14:backgroundRemoval t="0" b="92182" l="0" r="99824">
                        <a14:foregroundMark x1="18941" y1="83636" x2="89412" y2="84364"/>
                        <a14:foregroundMark x1="20235" y1="89000" x2="83412" y2="90000"/>
                        <a14:foregroundMark x1="88118" y1="90227" x2="15824" y2="90227"/>
                        <a14:foregroundMark x1="18000" y1="89727" x2="34412" y2="91182"/>
                        <a14:foregroundMark x1="87176" y1="90727" x2="35412" y2="90727"/>
                        <a14:foregroundMark x1="92882" y1="76318" x2="22765" y2="76545"/>
                        <a14:foregroundMark x1="7882" y1="8955" x2="8824" y2="78000"/>
                        <a14:foregroundMark x1="9176" y1="4318" x2="99824" y2="4545"/>
                        <a14:foregroundMark x1="93529" y1="91182" x2="96353" y2="136"/>
                        <a14:foregroundMark x1="96059" y1="91182" x2="0" y2="91909"/>
                      </a14:backgroundRemoval>
                    </a14:imgEffect>
                  </a14:imgLayer>
                </a14:imgProps>
              </a:ext>
              <a:ext uri="{28A0092B-C50C-407E-A947-70E740481C1C}">
                <a14:useLocalDpi xmlns:a14="http://schemas.microsoft.com/office/drawing/2010/main" val="0"/>
              </a:ext>
            </a:extLst>
          </a:blip>
          <a:srcRect l="16048" t="78970" r="7707" b="6115"/>
          <a:stretch/>
        </p:blipFill>
        <p:spPr bwMode="auto">
          <a:xfrm>
            <a:off x="1895669" y="5614410"/>
            <a:ext cx="3087920" cy="78170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654749" y="6486539"/>
            <a:ext cx="3425744" cy="230832"/>
          </a:xfrm>
          <a:prstGeom prst="rect">
            <a:avLst/>
          </a:prstGeom>
        </p:spPr>
        <p:txBody>
          <a:bodyPr wrap="square">
            <a:spAutoFit/>
          </a:bodyPr>
          <a:lstStyle/>
          <a:p>
            <a:r>
              <a:rPr lang="en-US" sz="900" dirty="0" smtClean="0"/>
              <a:t>*Source</a:t>
            </a:r>
            <a:r>
              <a:rPr lang="en-US" sz="900" dirty="0"/>
              <a:t>: </a:t>
            </a:r>
            <a:r>
              <a:rPr lang="en-US" sz="900" dirty="0" err="1"/>
              <a:t>Vestas</a:t>
            </a:r>
            <a:r>
              <a:rPr lang="en-US" sz="900" dirty="0"/>
              <a:t> W&amp;S, Global Solutions and Services</a:t>
            </a:r>
          </a:p>
        </p:txBody>
      </p:sp>
    </p:spTree>
    <p:extLst>
      <p:ext uri="{BB962C8B-B14F-4D97-AF65-F5344CB8AC3E}">
        <p14:creationId xmlns:p14="http://schemas.microsoft.com/office/powerpoint/2010/main" val="3223652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9250"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8"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9251" name="Rektangel 7"/>
          <p:cNvSpPr>
            <a:spLocks noChangeArrowheads="1"/>
          </p:cNvSpPr>
          <p:nvPr>
            <p:custDataLst>
              <p:tags r:id="rId3"/>
            </p:custDataLst>
          </p:nvPr>
        </p:nvSpPr>
        <p:spPr bwMode="auto">
          <a:xfrm>
            <a:off x="2627313" y="692150"/>
            <a:ext cx="4176712" cy="433388"/>
          </a:xfrm>
          <a:prstGeom prst="rect">
            <a:avLst/>
          </a:prstGeom>
          <a:solidFill>
            <a:srgbClr val="FFFFFF"/>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p>
            <a:endParaRPr lang="da-DK" sz="1800" b="0">
              <a:solidFill>
                <a:srgbClr val="000000"/>
              </a:solidFill>
            </a:endParaRPr>
          </a:p>
        </p:txBody>
      </p:sp>
      <p:pic>
        <p:nvPicPr>
          <p:cNvPr id="309252" name="Picture 2" descr="C:\Users\catof\Desktop\V164-7.0 MW materials\Visuals\Visuals (low res)\Vestas Offshore Evolution (low res).jpg"/>
          <p:cNvPicPr>
            <a:picLocks noChangeAspect="1" noChangeArrowheads="1"/>
          </p:cNvPicPr>
          <p:nvPr>
            <p:custDataLst>
              <p:tags r:id="rId4"/>
            </p:custDataLst>
          </p:nvPr>
        </p:nvPicPr>
        <p:blipFill>
          <a:blip r:embed="rId18">
            <a:extLst>
              <a:ext uri="{28A0092B-C50C-407E-A947-70E740481C1C}">
                <a14:useLocalDpi xmlns:a14="http://schemas.microsoft.com/office/drawing/2010/main" val="0"/>
              </a:ext>
            </a:extLst>
          </a:blip>
          <a:srcRect t="7864"/>
          <a:stretch>
            <a:fillRect/>
          </a:stretch>
        </p:blipFill>
        <p:spPr bwMode="auto">
          <a:xfrm>
            <a:off x="0" y="1052513"/>
            <a:ext cx="9144000" cy="526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custDataLst>
              <p:tags r:id="rId5"/>
            </p:custDataLst>
          </p:nvPr>
        </p:nvSpPr>
        <p:spPr>
          <a:xfrm>
            <a:off x="2771775" y="692150"/>
            <a:ext cx="3816350" cy="504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800" b="0">
              <a:solidFill>
                <a:srgbClr val="FFFFFF"/>
              </a:solidFill>
            </a:endParaRPr>
          </a:p>
        </p:txBody>
      </p:sp>
      <p:sp>
        <p:nvSpPr>
          <p:cNvPr id="309254" name="Text Box 55"/>
          <p:cNvSpPr txBox="1">
            <a:spLocks noChangeArrowheads="1"/>
          </p:cNvSpPr>
          <p:nvPr>
            <p:custDataLst>
              <p:tags r:id="rId6"/>
            </p:custDataLst>
          </p:nvPr>
        </p:nvSpPr>
        <p:spPr bwMode="auto">
          <a:xfrm>
            <a:off x="-1817688" y="2033588"/>
            <a:ext cx="8712201"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lnSpc>
                <a:spcPts val="1900"/>
              </a:lnSpc>
              <a:spcBef>
                <a:spcPct val="50000"/>
              </a:spcBef>
            </a:pPr>
            <a:endParaRPr lang="en-US" b="0">
              <a:solidFill>
                <a:srgbClr val="0091D7"/>
              </a:solidFill>
            </a:endParaRPr>
          </a:p>
        </p:txBody>
      </p:sp>
      <p:sp>
        <p:nvSpPr>
          <p:cNvPr id="309255" name="Rectangle 2"/>
          <p:cNvSpPr>
            <a:spLocks noChangeArrowheads="1"/>
          </p:cNvSpPr>
          <p:nvPr>
            <p:custDataLst>
              <p:tags r:id="rId7"/>
            </p:custDataLst>
          </p:nvPr>
        </p:nvSpPr>
        <p:spPr bwMode="auto">
          <a:xfrm>
            <a:off x="0" y="5770563"/>
            <a:ext cx="9144000" cy="5476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endParaRPr lang="en-US"/>
          </a:p>
        </p:txBody>
      </p:sp>
      <p:sp>
        <p:nvSpPr>
          <p:cNvPr id="15369" name="TextBox 3"/>
          <p:cNvSpPr txBox="1">
            <a:spLocks noChangeArrowheads="1"/>
          </p:cNvSpPr>
          <p:nvPr>
            <p:custDataLst>
              <p:tags r:id="rId8"/>
            </p:custDataLst>
          </p:nvPr>
        </p:nvSpPr>
        <p:spPr bwMode="auto">
          <a:xfrm>
            <a:off x="4303713" y="5908675"/>
            <a:ext cx="1219200"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defRPr/>
            </a:pPr>
            <a:r>
              <a:rPr lang="da-DK" sz="1400" dirty="0" smtClean="0">
                <a:solidFill>
                  <a:srgbClr val="FFFFFF"/>
                </a:solidFill>
                <a:latin typeface="+mj-lt"/>
              </a:rPr>
              <a:t>V112-3.0MW</a:t>
            </a:r>
            <a:endParaRPr lang="en-GB" sz="1400" dirty="0" smtClean="0">
              <a:solidFill>
                <a:srgbClr val="FFFFFF"/>
              </a:solidFill>
              <a:latin typeface="+mj-lt"/>
            </a:endParaRPr>
          </a:p>
        </p:txBody>
      </p:sp>
      <p:sp>
        <p:nvSpPr>
          <p:cNvPr id="15370" name="TextBox 9"/>
          <p:cNvSpPr txBox="1">
            <a:spLocks noChangeArrowheads="1"/>
          </p:cNvSpPr>
          <p:nvPr>
            <p:custDataLst>
              <p:tags r:id="rId9"/>
            </p:custDataLst>
          </p:nvPr>
        </p:nvSpPr>
        <p:spPr bwMode="auto">
          <a:xfrm>
            <a:off x="0" y="5908675"/>
            <a:ext cx="11207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defRPr/>
            </a:pPr>
            <a:r>
              <a:rPr lang="da-DK" sz="1400" dirty="0" smtClean="0">
                <a:solidFill>
                  <a:srgbClr val="FFFFFF"/>
                </a:solidFill>
                <a:latin typeface="+mj-lt"/>
              </a:rPr>
              <a:t>V39-500kW</a:t>
            </a:r>
            <a:endParaRPr lang="en-GB" sz="1400" dirty="0" smtClean="0">
              <a:solidFill>
                <a:srgbClr val="FFFFFF"/>
              </a:solidFill>
              <a:latin typeface="+mj-lt"/>
            </a:endParaRPr>
          </a:p>
        </p:txBody>
      </p:sp>
      <p:sp>
        <p:nvSpPr>
          <p:cNvPr id="15371" name="TextBox 10"/>
          <p:cNvSpPr txBox="1">
            <a:spLocks noChangeArrowheads="1"/>
          </p:cNvSpPr>
          <p:nvPr>
            <p:custDataLst>
              <p:tags r:id="rId10"/>
            </p:custDataLst>
          </p:nvPr>
        </p:nvSpPr>
        <p:spPr bwMode="auto">
          <a:xfrm>
            <a:off x="1093788" y="5908675"/>
            <a:ext cx="1130300"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defRPr/>
            </a:pPr>
            <a:r>
              <a:rPr lang="da-DK" sz="1400" dirty="0" smtClean="0">
                <a:solidFill>
                  <a:srgbClr val="FFFFFF"/>
                </a:solidFill>
                <a:latin typeface="+mj-lt"/>
              </a:rPr>
              <a:t>V80-2.0MW</a:t>
            </a:r>
            <a:endParaRPr lang="en-GB" sz="1400" dirty="0" smtClean="0">
              <a:solidFill>
                <a:srgbClr val="FFFFFF"/>
              </a:solidFill>
              <a:latin typeface="+mj-lt"/>
            </a:endParaRPr>
          </a:p>
        </p:txBody>
      </p:sp>
      <p:sp>
        <p:nvSpPr>
          <p:cNvPr id="15372" name="TextBox 11"/>
          <p:cNvSpPr txBox="1">
            <a:spLocks noChangeArrowheads="1"/>
          </p:cNvSpPr>
          <p:nvPr>
            <p:custDataLst>
              <p:tags r:id="rId11"/>
            </p:custDataLst>
          </p:nvPr>
        </p:nvSpPr>
        <p:spPr bwMode="auto">
          <a:xfrm>
            <a:off x="2459038" y="5908675"/>
            <a:ext cx="1130300"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defRPr/>
            </a:pPr>
            <a:r>
              <a:rPr lang="da-DK" sz="1400" dirty="0" smtClean="0">
                <a:solidFill>
                  <a:srgbClr val="FFFFFF"/>
                </a:solidFill>
                <a:latin typeface="+mj-lt"/>
              </a:rPr>
              <a:t>V90-3.0MW</a:t>
            </a:r>
            <a:endParaRPr lang="en-GB" sz="1400" dirty="0" smtClean="0">
              <a:solidFill>
                <a:srgbClr val="FFFFFF"/>
              </a:solidFill>
              <a:latin typeface="+mj-lt"/>
            </a:endParaRPr>
          </a:p>
        </p:txBody>
      </p:sp>
      <p:sp>
        <p:nvSpPr>
          <p:cNvPr id="15373" name="TextBox 12"/>
          <p:cNvSpPr txBox="1">
            <a:spLocks noChangeArrowheads="1"/>
          </p:cNvSpPr>
          <p:nvPr>
            <p:custDataLst>
              <p:tags r:id="rId12"/>
            </p:custDataLst>
          </p:nvPr>
        </p:nvSpPr>
        <p:spPr bwMode="auto">
          <a:xfrm>
            <a:off x="6967538" y="5908675"/>
            <a:ext cx="1229824"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defRPr/>
            </a:pPr>
            <a:r>
              <a:rPr lang="da-DK" sz="1400" dirty="0" smtClean="0">
                <a:solidFill>
                  <a:srgbClr val="FFFFFF"/>
                </a:solidFill>
                <a:latin typeface="+mj-lt"/>
              </a:rPr>
              <a:t>V164-</a:t>
            </a:r>
            <a:r>
              <a:rPr lang="pl-PL" sz="1400" dirty="0" smtClean="0">
                <a:solidFill>
                  <a:srgbClr val="FFFFFF"/>
                </a:solidFill>
                <a:latin typeface="+mj-lt"/>
              </a:rPr>
              <a:t>8</a:t>
            </a:r>
            <a:r>
              <a:rPr lang="da-DK" sz="1400" dirty="0" smtClean="0">
                <a:solidFill>
                  <a:srgbClr val="FFFFFF"/>
                </a:solidFill>
                <a:latin typeface="+mj-lt"/>
              </a:rPr>
              <a:t>.0MW</a:t>
            </a:r>
            <a:endParaRPr lang="en-GB" sz="1400" dirty="0" smtClean="0">
              <a:solidFill>
                <a:srgbClr val="FFFFFF"/>
              </a:solidFill>
              <a:latin typeface="+mj-lt"/>
            </a:endParaRPr>
          </a:p>
        </p:txBody>
      </p:sp>
      <p:sp>
        <p:nvSpPr>
          <p:cNvPr id="309261" name="Slide Number Placeholder 5"/>
          <p:cNvSpPr>
            <a:spLocks noGrp="1"/>
          </p:cNvSpPr>
          <p:nvPr>
            <p:ph type="sldNum" sz="quarter" idx="12"/>
            <p:custDataLst>
              <p:tags r:id="rId13"/>
            </p:custDataLst>
          </p:nvPr>
        </p:nvSpPr>
        <p:spPr>
          <a:xfrm>
            <a:off x="215900" y="6499225"/>
            <a:ext cx="287338" cy="144463"/>
          </a:xfrm>
          <a:noFill/>
        </p:spPr>
        <p:txBody>
          <a:bodyPr/>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fld id="{50002E52-820A-41BE-8425-1ACDF287011A}" type="slidenum">
              <a:rPr lang="en-GB" sz="900" b="0" smtClean="0">
                <a:solidFill>
                  <a:srgbClr val="000000"/>
                </a:solidFill>
              </a:rPr>
              <a:pPr eaLnBrk="1" hangingPunct="1"/>
              <a:t>19</a:t>
            </a:fld>
            <a:endParaRPr lang="en-GB" sz="900" b="0" smtClean="0">
              <a:solidFill>
                <a:srgbClr val="000000"/>
              </a:solidFill>
            </a:endParaRPr>
          </a:p>
        </p:txBody>
      </p:sp>
      <p:sp>
        <p:nvSpPr>
          <p:cNvPr id="18" name="Rectangle 2"/>
          <p:cNvSpPr txBox="1">
            <a:spLocks noChangeArrowheads="1"/>
          </p:cNvSpPr>
          <p:nvPr/>
        </p:nvSpPr>
        <p:spPr bwMode="auto">
          <a:xfrm>
            <a:off x="215900" y="244475"/>
            <a:ext cx="87122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lnSpc>
                <a:spcPct val="96000"/>
              </a:lnSpc>
              <a:spcBef>
                <a:spcPct val="0"/>
              </a:spcBef>
              <a:spcAft>
                <a:spcPct val="0"/>
              </a:spcAft>
              <a:defRPr sz="2400" kern="1200">
                <a:solidFill>
                  <a:schemeClr val="tx1"/>
                </a:solidFill>
                <a:latin typeface="+mj-lt"/>
                <a:ea typeface="+mj-ea"/>
                <a:cs typeface="+mj-cs"/>
              </a:defRPr>
            </a:lvl1pPr>
            <a:lvl2pPr algn="l" rtl="0" eaLnBrk="0" fontAlgn="base" hangingPunct="0">
              <a:lnSpc>
                <a:spcPct val="96000"/>
              </a:lnSpc>
              <a:spcBef>
                <a:spcPct val="0"/>
              </a:spcBef>
              <a:spcAft>
                <a:spcPct val="0"/>
              </a:spcAft>
              <a:defRPr sz="2400">
                <a:solidFill>
                  <a:schemeClr val="tx1"/>
                </a:solidFill>
                <a:latin typeface="Arial" charset="0"/>
              </a:defRPr>
            </a:lvl2pPr>
            <a:lvl3pPr algn="l" rtl="0" eaLnBrk="0" fontAlgn="base" hangingPunct="0">
              <a:lnSpc>
                <a:spcPct val="96000"/>
              </a:lnSpc>
              <a:spcBef>
                <a:spcPct val="0"/>
              </a:spcBef>
              <a:spcAft>
                <a:spcPct val="0"/>
              </a:spcAft>
              <a:defRPr sz="2400">
                <a:solidFill>
                  <a:schemeClr val="tx1"/>
                </a:solidFill>
                <a:latin typeface="Arial" charset="0"/>
              </a:defRPr>
            </a:lvl3pPr>
            <a:lvl4pPr algn="l" rtl="0" eaLnBrk="0" fontAlgn="base" hangingPunct="0">
              <a:lnSpc>
                <a:spcPct val="96000"/>
              </a:lnSpc>
              <a:spcBef>
                <a:spcPct val="0"/>
              </a:spcBef>
              <a:spcAft>
                <a:spcPct val="0"/>
              </a:spcAft>
              <a:defRPr sz="2400">
                <a:solidFill>
                  <a:schemeClr val="tx1"/>
                </a:solidFill>
                <a:latin typeface="Arial" charset="0"/>
              </a:defRPr>
            </a:lvl4pPr>
            <a:lvl5pPr algn="l" rtl="0" eaLnBrk="0" fontAlgn="base" hangingPunct="0">
              <a:lnSpc>
                <a:spcPct val="96000"/>
              </a:lnSpc>
              <a:spcBef>
                <a:spcPct val="0"/>
              </a:spcBef>
              <a:spcAft>
                <a:spcPct val="0"/>
              </a:spcAft>
              <a:defRPr sz="2400">
                <a:solidFill>
                  <a:schemeClr val="tx1"/>
                </a:solidFill>
                <a:latin typeface="Arial" charset="0"/>
              </a:defRPr>
            </a:lvl5pPr>
            <a:lvl6pPr marL="457200" algn="l" rtl="0" fontAlgn="base">
              <a:lnSpc>
                <a:spcPct val="96000"/>
              </a:lnSpc>
              <a:spcBef>
                <a:spcPct val="0"/>
              </a:spcBef>
              <a:spcAft>
                <a:spcPct val="0"/>
              </a:spcAft>
              <a:defRPr sz="2400">
                <a:solidFill>
                  <a:schemeClr val="tx1"/>
                </a:solidFill>
                <a:latin typeface="Arial" charset="0"/>
              </a:defRPr>
            </a:lvl6pPr>
            <a:lvl7pPr marL="914400" algn="l" rtl="0" fontAlgn="base">
              <a:lnSpc>
                <a:spcPct val="96000"/>
              </a:lnSpc>
              <a:spcBef>
                <a:spcPct val="0"/>
              </a:spcBef>
              <a:spcAft>
                <a:spcPct val="0"/>
              </a:spcAft>
              <a:defRPr sz="2400">
                <a:solidFill>
                  <a:schemeClr val="tx1"/>
                </a:solidFill>
                <a:latin typeface="Arial" charset="0"/>
              </a:defRPr>
            </a:lvl7pPr>
            <a:lvl8pPr marL="1371600" algn="l" rtl="0" fontAlgn="base">
              <a:lnSpc>
                <a:spcPct val="96000"/>
              </a:lnSpc>
              <a:spcBef>
                <a:spcPct val="0"/>
              </a:spcBef>
              <a:spcAft>
                <a:spcPct val="0"/>
              </a:spcAft>
              <a:defRPr sz="2400">
                <a:solidFill>
                  <a:schemeClr val="tx1"/>
                </a:solidFill>
                <a:latin typeface="Arial" charset="0"/>
              </a:defRPr>
            </a:lvl8pPr>
            <a:lvl9pPr marL="1828800" algn="l" rtl="0" fontAlgn="base">
              <a:lnSpc>
                <a:spcPct val="96000"/>
              </a:lnSpc>
              <a:spcBef>
                <a:spcPct val="0"/>
              </a:spcBef>
              <a:spcAft>
                <a:spcPct val="0"/>
              </a:spcAft>
              <a:defRPr sz="2400">
                <a:solidFill>
                  <a:schemeClr val="tx1"/>
                </a:solidFill>
                <a:latin typeface="Arial" charset="0"/>
              </a:defRPr>
            </a:lvl9pPr>
          </a:lstStyle>
          <a:p>
            <a:pPr eaLnBrk="1" hangingPunct="1">
              <a:defRPr/>
            </a:pPr>
            <a:r>
              <a:rPr lang="da-DK" sz="2800" b="1" dirty="0">
                <a:solidFill>
                  <a:srgbClr val="000000"/>
                </a:solidFill>
                <a:ea typeface="+mn-ea"/>
                <a:cs typeface="+mn-cs"/>
              </a:rPr>
              <a:t>Vestas </a:t>
            </a:r>
            <a:r>
              <a:rPr lang="da-DK" sz="2800" b="1" dirty="0" err="1" smtClean="0">
                <a:solidFill>
                  <a:srgbClr val="000000"/>
                </a:solidFill>
                <a:ea typeface="+mn-ea"/>
                <a:cs typeface="+mn-cs"/>
              </a:rPr>
              <a:t>portfolio</a:t>
            </a:r>
            <a:endParaRPr lang="da-DK" sz="2800" b="1" dirty="0">
              <a:solidFill>
                <a:srgbClr val="000000"/>
              </a:solidFill>
              <a:ea typeface="+mn-ea"/>
              <a:cs typeface="+mn-cs"/>
            </a:endParaRPr>
          </a:p>
        </p:txBody>
      </p:sp>
      <p:sp>
        <p:nvSpPr>
          <p:cNvPr id="309264" name="Text Box 43"/>
          <p:cNvSpPr txBox="1">
            <a:spLocks noChangeArrowheads="1"/>
          </p:cNvSpPr>
          <p:nvPr/>
        </p:nvSpPr>
        <p:spPr bwMode="auto">
          <a:xfrm>
            <a:off x="215900" y="620713"/>
            <a:ext cx="80645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600" b="1">
                <a:solidFill>
                  <a:schemeClr val="bg1"/>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pPr eaLnBrk="1" hangingPunct="1">
              <a:lnSpc>
                <a:spcPts val="1900"/>
              </a:lnSpc>
              <a:spcBef>
                <a:spcPct val="50000"/>
              </a:spcBef>
            </a:pPr>
            <a:r>
              <a:rPr lang="pl-PL" b="0" dirty="0" smtClean="0">
                <a:solidFill>
                  <a:srgbClr val="0091D7"/>
                </a:solidFill>
              </a:rPr>
              <a:t>Od turbin rzędu</a:t>
            </a:r>
            <a:r>
              <a:rPr lang="en-GB" b="0" dirty="0" smtClean="0">
                <a:solidFill>
                  <a:srgbClr val="0091D7"/>
                </a:solidFill>
              </a:rPr>
              <a:t> kW</a:t>
            </a:r>
            <a:r>
              <a:rPr lang="pl-PL" b="0" dirty="0" smtClean="0">
                <a:solidFill>
                  <a:srgbClr val="0091D7"/>
                </a:solidFill>
              </a:rPr>
              <a:t> do jednostek MW</a:t>
            </a:r>
            <a:endParaRPr lang="en-GB" b="0" dirty="0">
              <a:solidFill>
                <a:srgbClr val="0091D7"/>
              </a:solidFill>
            </a:endParaRPr>
          </a:p>
        </p:txBody>
      </p:sp>
    </p:spTree>
    <p:extLst>
      <p:ext uri="{BB962C8B-B14F-4D97-AF65-F5344CB8AC3E}">
        <p14:creationId xmlns:p14="http://schemas.microsoft.com/office/powerpoint/2010/main" val="32654835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57C54B84-4F7D-4121-AC7D-CD8D579F1681}" type="slidenum">
              <a:rPr lang="en-GB" smtClean="0">
                <a:solidFill>
                  <a:srgbClr val="000000"/>
                </a:solidFill>
              </a:rPr>
              <a:pPr>
                <a:defRPr/>
              </a:pPr>
              <a:t>2</a:t>
            </a:fld>
            <a:endParaRPr lang="en-GB">
              <a:solidFill>
                <a:srgbClr val="000000"/>
              </a:solidFill>
            </a:endParaRPr>
          </a:p>
        </p:txBody>
      </p:sp>
      <p:sp>
        <p:nvSpPr>
          <p:cNvPr id="6" name="TextBox 5"/>
          <p:cNvSpPr txBox="1"/>
          <p:nvPr/>
        </p:nvSpPr>
        <p:spPr>
          <a:xfrm>
            <a:off x="467544" y="1124744"/>
            <a:ext cx="8136904" cy="3170099"/>
          </a:xfrm>
          <a:prstGeom prst="rect">
            <a:avLst/>
          </a:prstGeom>
          <a:noFill/>
        </p:spPr>
        <p:txBody>
          <a:bodyPr wrap="square" rtlCol="0">
            <a:spAutoFit/>
          </a:bodyPr>
          <a:lstStyle/>
          <a:p>
            <a:pPr marL="342900" indent="-342900">
              <a:buAutoNum type="arabicPeriod"/>
            </a:pPr>
            <a:r>
              <a:rPr lang="pl-PL" sz="2000" dirty="0" smtClean="0">
                <a:solidFill>
                  <a:schemeClr val="bg1"/>
                </a:solidFill>
              </a:rPr>
              <a:t>O </a:t>
            </a:r>
            <a:r>
              <a:rPr lang="pl-PL" sz="2000" dirty="0" err="1">
                <a:solidFill>
                  <a:schemeClr val="bg1"/>
                </a:solidFill>
              </a:rPr>
              <a:t>Vestas</a:t>
            </a:r>
            <a:r>
              <a:rPr lang="pl-PL" sz="2000" dirty="0">
                <a:solidFill>
                  <a:schemeClr val="bg1"/>
                </a:solidFill>
              </a:rPr>
              <a:t> </a:t>
            </a:r>
            <a:endParaRPr lang="pl-PL" sz="2000" dirty="0" smtClean="0">
              <a:solidFill>
                <a:schemeClr val="bg1"/>
              </a:solidFill>
            </a:endParaRPr>
          </a:p>
          <a:p>
            <a:pPr marL="342900" indent="-342900">
              <a:buAutoNum type="arabicPeriod"/>
            </a:pPr>
            <a:endParaRPr lang="de-DE" sz="2000" dirty="0">
              <a:solidFill>
                <a:schemeClr val="bg1"/>
              </a:solidFill>
            </a:endParaRPr>
          </a:p>
          <a:p>
            <a:pPr>
              <a:tabLst>
                <a:tab pos="355600" algn="l"/>
              </a:tabLst>
            </a:pPr>
            <a:r>
              <a:rPr lang="pl-PL" sz="2000" dirty="0">
                <a:solidFill>
                  <a:schemeClr val="bg1"/>
                </a:solidFill>
              </a:rPr>
              <a:t>2. Rynek energetyki </a:t>
            </a:r>
            <a:r>
              <a:rPr lang="pl-PL" sz="2000" dirty="0" smtClean="0">
                <a:solidFill>
                  <a:schemeClr val="bg1"/>
                </a:solidFill>
              </a:rPr>
              <a:t>wiatrowej – 	stan obecny i </a:t>
            </a:r>
            <a:r>
              <a:rPr lang="pl-PL" sz="2000" dirty="0">
                <a:solidFill>
                  <a:schemeClr val="bg1"/>
                </a:solidFill>
              </a:rPr>
              <a:t>perspektywy </a:t>
            </a:r>
            <a:r>
              <a:rPr lang="pl-PL" sz="2000" dirty="0" smtClean="0">
                <a:solidFill>
                  <a:schemeClr val="bg1"/>
                </a:solidFill>
              </a:rPr>
              <a:t>rozwoju</a:t>
            </a:r>
          </a:p>
          <a:p>
            <a:endParaRPr lang="de-DE" sz="2000" dirty="0">
              <a:solidFill>
                <a:schemeClr val="bg1"/>
              </a:solidFill>
            </a:endParaRPr>
          </a:p>
          <a:p>
            <a:pPr>
              <a:tabLst>
                <a:tab pos="355600" algn="l"/>
              </a:tabLst>
            </a:pPr>
            <a:r>
              <a:rPr lang="pl-PL" sz="2000" dirty="0">
                <a:solidFill>
                  <a:schemeClr val="bg1"/>
                </a:solidFill>
              </a:rPr>
              <a:t>3. Doświadczenia </a:t>
            </a:r>
            <a:r>
              <a:rPr lang="pl-PL" sz="2000" dirty="0" err="1">
                <a:solidFill>
                  <a:schemeClr val="bg1"/>
                </a:solidFill>
              </a:rPr>
              <a:t>Vestas</a:t>
            </a:r>
            <a:r>
              <a:rPr lang="pl-PL" sz="2000" dirty="0">
                <a:solidFill>
                  <a:schemeClr val="bg1"/>
                </a:solidFill>
              </a:rPr>
              <a:t> </a:t>
            </a:r>
            <a:r>
              <a:rPr lang="pl-PL" sz="2000" dirty="0" smtClean="0">
                <a:solidFill>
                  <a:schemeClr val="bg1"/>
                </a:solidFill>
              </a:rPr>
              <a:t>w rozwoju energetyki wiatrowej</a:t>
            </a:r>
          </a:p>
          <a:p>
            <a:r>
              <a:rPr lang="pl-PL" sz="2000" dirty="0" smtClean="0">
                <a:solidFill>
                  <a:schemeClr val="bg1"/>
                </a:solidFill>
              </a:rPr>
              <a:t> </a:t>
            </a:r>
          </a:p>
          <a:p>
            <a:r>
              <a:rPr lang="pl-PL" sz="2000" dirty="0" smtClean="0">
                <a:solidFill>
                  <a:schemeClr val="bg1"/>
                </a:solidFill>
              </a:rPr>
              <a:t>4</a:t>
            </a:r>
            <a:r>
              <a:rPr lang="pl-PL" sz="2000" dirty="0">
                <a:solidFill>
                  <a:schemeClr val="bg1"/>
                </a:solidFill>
              </a:rPr>
              <a:t>. Nowe turbiny oferowane na rynek </a:t>
            </a:r>
          </a:p>
          <a:p>
            <a:endParaRPr lang="de-DE" sz="2000" dirty="0">
              <a:solidFill>
                <a:schemeClr val="bg1"/>
              </a:solidFill>
            </a:endParaRPr>
          </a:p>
          <a:p>
            <a:pPr>
              <a:tabLst>
                <a:tab pos="355600" algn="l"/>
              </a:tabLst>
            </a:pPr>
            <a:r>
              <a:rPr lang="pl-PL" sz="2000" dirty="0">
                <a:solidFill>
                  <a:schemeClr val="bg1"/>
                </a:solidFill>
              </a:rPr>
              <a:t>5. Proces sprzedaży elektrowni wiatrowych w Polsce – wyzwania </a:t>
            </a:r>
            <a:r>
              <a:rPr lang="pl-PL" sz="2000" dirty="0" smtClean="0">
                <a:solidFill>
                  <a:schemeClr val="bg1"/>
                </a:solidFill>
              </a:rPr>
              <a:t>	rynku</a:t>
            </a:r>
            <a:endParaRPr lang="de-DE" sz="2000" dirty="0">
              <a:solidFill>
                <a:schemeClr val="bg1"/>
              </a:solidFill>
            </a:endParaRPr>
          </a:p>
        </p:txBody>
      </p:sp>
      <p:sp>
        <p:nvSpPr>
          <p:cNvPr id="2" name="TextBox 1"/>
          <p:cNvSpPr txBox="1"/>
          <p:nvPr/>
        </p:nvSpPr>
        <p:spPr>
          <a:xfrm>
            <a:off x="467544" y="332656"/>
            <a:ext cx="8136904" cy="523220"/>
          </a:xfrm>
          <a:prstGeom prst="rect">
            <a:avLst/>
          </a:prstGeom>
          <a:noFill/>
        </p:spPr>
        <p:txBody>
          <a:bodyPr wrap="square" rtlCol="0">
            <a:spAutoFit/>
          </a:bodyPr>
          <a:lstStyle/>
          <a:p>
            <a:r>
              <a:rPr lang="pl-PL" sz="2800" b="1" dirty="0" smtClean="0"/>
              <a:t>Plan prezentacji</a:t>
            </a:r>
            <a:endParaRPr lang="de-DE" sz="2800" b="1" dirty="0"/>
          </a:p>
        </p:txBody>
      </p:sp>
    </p:spTree>
    <p:extLst>
      <p:ext uri="{BB962C8B-B14F-4D97-AF65-F5344CB8AC3E}">
        <p14:creationId xmlns:p14="http://schemas.microsoft.com/office/powerpoint/2010/main" val="15229734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25682FD2-A730-4731-BC64-57BEF4E31A6B}" type="slidenum">
              <a:rPr lang="en-GB" sz="900" smtClean="0"/>
              <a:pPr eaLnBrk="1" hangingPunct="1"/>
              <a:t>20</a:t>
            </a:fld>
            <a:endParaRPr lang="en-GB" sz="900" smtClean="0"/>
          </a:p>
        </p:txBody>
      </p:sp>
      <p:sp>
        <p:nvSpPr>
          <p:cNvPr id="23557"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21510" name="Text Box 5"/>
          <p:cNvSpPr txBox="1">
            <a:spLocks noChangeArrowheads="1"/>
          </p:cNvSpPr>
          <p:nvPr/>
        </p:nvSpPr>
        <p:spPr bwMode="auto">
          <a:xfrm>
            <a:off x="431800" y="1177925"/>
            <a:ext cx="6119813" cy="58477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5725" indent="-85725" eaLnBrk="0" hangingPunct="0">
              <a:defRPr sz="1600">
                <a:solidFill>
                  <a:schemeClr val="bg1"/>
                </a:solidFill>
                <a:latin typeface="Arial" pitchFamily="34" charset="0"/>
              </a:defRPr>
            </a:lvl1pPr>
            <a:lvl2pPr marL="742950" indent="-285750" eaLnBrk="0" hangingPunct="0">
              <a:defRPr sz="1600">
                <a:solidFill>
                  <a:schemeClr val="bg1"/>
                </a:solidFill>
                <a:latin typeface="Arial" pitchFamily="34" charset="0"/>
              </a:defRPr>
            </a:lvl2pPr>
            <a:lvl3pPr marL="1143000" indent="-228600" eaLnBrk="0" hangingPunct="0">
              <a:defRPr sz="1600">
                <a:solidFill>
                  <a:schemeClr val="bg1"/>
                </a:solidFill>
                <a:latin typeface="Arial" pitchFamily="34" charset="0"/>
              </a:defRPr>
            </a:lvl3pPr>
            <a:lvl4pPr marL="1600200" indent="-228600" eaLnBrk="0" hangingPunct="0">
              <a:defRPr sz="1600">
                <a:solidFill>
                  <a:schemeClr val="bg1"/>
                </a:solidFill>
                <a:latin typeface="Arial" pitchFamily="34" charset="0"/>
              </a:defRPr>
            </a:lvl4pPr>
            <a:lvl5pPr marL="2057400" indent="-228600" eaLnBrk="0" hangingPunct="0">
              <a:defRPr sz="1600">
                <a:solidFill>
                  <a:schemeClr val="bg1"/>
                </a:solidFill>
                <a:latin typeface="Arial" pitchFamily="34" charset="0"/>
              </a:defRPr>
            </a:lvl5pPr>
            <a:lvl6pPr marL="2514600" indent="-228600" eaLnBrk="0" fontAlgn="base" hangingPunct="0">
              <a:spcBef>
                <a:spcPct val="0"/>
              </a:spcBef>
              <a:spcAft>
                <a:spcPct val="0"/>
              </a:spcAft>
              <a:defRPr sz="1600">
                <a:solidFill>
                  <a:schemeClr val="bg1"/>
                </a:solidFill>
                <a:latin typeface="Arial" pitchFamily="34" charset="0"/>
              </a:defRPr>
            </a:lvl6pPr>
            <a:lvl7pPr marL="2971800" indent="-228600" eaLnBrk="0" fontAlgn="base" hangingPunct="0">
              <a:spcBef>
                <a:spcPct val="0"/>
              </a:spcBef>
              <a:spcAft>
                <a:spcPct val="0"/>
              </a:spcAft>
              <a:defRPr sz="1600">
                <a:solidFill>
                  <a:schemeClr val="bg1"/>
                </a:solidFill>
                <a:latin typeface="Arial" pitchFamily="34" charset="0"/>
              </a:defRPr>
            </a:lvl7pPr>
            <a:lvl8pPr marL="3429000" indent="-228600" eaLnBrk="0" fontAlgn="base" hangingPunct="0">
              <a:spcBef>
                <a:spcPct val="0"/>
              </a:spcBef>
              <a:spcAft>
                <a:spcPct val="0"/>
              </a:spcAft>
              <a:defRPr sz="1600">
                <a:solidFill>
                  <a:schemeClr val="bg1"/>
                </a:solidFill>
                <a:latin typeface="Arial" pitchFamily="34" charset="0"/>
              </a:defRPr>
            </a:lvl8pPr>
            <a:lvl9pPr marL="3886200" indent="-228600" eaLnBrk="0" fontAlgn="base" hangingPunct="0">
              <a:spcBef>
                <a:spcPct val="0"/>
              </a:spcBef>
              <a:spcAft>
                <a:spcPct val="0"/>
              </a:spcAft>
              <a:defRPr sz="1600">
                <a:solidFill>
                  <a:schemeClr val="bg1"/>
                </a:solidFill>
                <a:latin typeface="Arial" pitchFamily="34" charset="0"/>
              </a:defRPr>
            </a:lvl9pPr>
          </a:lstStyle>
          <a:p>
            <a:pPr marL="0" indent="0" eaLnBrk="1" hangingPunct="1">
              <a:defRPr/>
            </a:pPr>
            <a:endParaRPr lang="da-DK" sz="1400" dirty="0" smtClean="0"/>
          </a:p>
          <a:p>
            <a:pPr eaLnBrk="1" hangingPunct="1">
              <a:spcBef>
                <a:spcPct val="50000"/>
              </a:spcBef>
              <a:defRPr/>
            </a:pPr>
            <a:endParaRPr lang="da-DK" dirty="0" smtClean="0"/>
          </a:p>
        </p:txBody>
      </p:sp>
      <p:pic>
        <p:nvPicPr>
          <p:cNvPr id="2355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24225"/>
            <a:ext cx="9144000" cy="289560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15900" y="1762700"/>
            <a:ext cx="8712200" cy="352425"/>
          </a:xfrm>
        </p:spPr>
        <p:txBody>
          <a:bodyPr/>
          <a:lstStyle/>
          <a:p>
            <a:r>
              <a:rPr lang="pl-PL" dirty="0" smtClean="0"/>
              <a:t>Nowe turbiny </a:t>
            </a:r>
            <a:r>
              <a:rPr lang="pl-PL" dirty="0" err="1" smtClean="0"/>
              <a:t>Vestas</a:t>
            </a:r>
            <a:endParaRPr lang="de-DE" dirty="0"/>
          </a:p>
        </p:txBody>
      </p:sp>
    </p:spTree>
    <p:extLst>
      <p:ext uri="{BB962C8B-B14F-4D97-AF65-F5344CB8AC3E}">
        <p14:creationId xmlns:p14="http://schemas.microsoft.com/office/powerpoint/2010/main" val="5276168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6"/>
          <p:cNvSpPr>
            <a:spLocks noGrp="1"/>
          </p:cNvSpPr>
          <p:nvPr>
            <p:ph type="sldNum" sz="quarter" idx="12"/>
          </p:nvPr>
        </p:nvSpPr>
        <p:spPr/>
        <p:txBody>
          <a:bodyPr/>
          <a:lstStyle/>
          <a:p>
            <a:fld id="{AB88903A-EB2F-4E1C-8388-25C2ED8E4A43}" type="slidenum">
              <a:rPr lang="pl-PL"/>
              <a:pPr/>
              <a:t>21</a:t>
            </a:fld>
            <a:endParaRPr lang="pl-PL"/>
          </a:p>
        </p:txBody>
      </p:sp>
      <p:sp>
        <p:nvSpPr>
          <p:cNvPr id="368644" name="Rectangle 4"/>
          <p:cNvSpPr>
            <a:spLocks noGrp="1" noChangeArrowheads="1"/>
          </p:cNvSpPr>
          <p:nvPr>
            <p:ph type="title"/>
          </p:nvPr>
        </p:nvSpPr>
        <p:spPr>
          <a:noFill/>
          <a:ln/>
        </p:spPr>
        <p:txBody>
          <a:bodyPr/>
          <a:lstStyle/>
          <a:p>
            <a:r>
              <a:rPr lang="pl-PL" sz="2800" b="1" dirty="0" smtClean="0">
                <a:latin typeface="Arial" charset="0"/>
              </a:rPr>
              <a:t>Przegląd turbin </a:t>
            </a:r>
            <a:r>
              <a:rPr lang="pl-PL" sz="2800" b="1" dirty="0" err="1" smtClean="0">
                <a:latin typeface="Arial" charset="0"/>
              </a:rPr>
              <a:t>Vestas</a:t>
            </a:r>
            <a:endParaRPr lang="pl-PL" sz="2800" b="1" dirty="0">
              <a:latin typeface="Arial" charset="0"/>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1405398"/>
            <a:ext cx="6842911" cy="3839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Box 7"/>
          <p:cNvSpPr txBox="1">
            <a:spLocks noChangeArrowheads="1"/>
          </p:cNvSpPr>
          <p:nvPr/>
        </p:nvSpPr>
        <p:spPr bwMode="auto">
          <a:xfrm>
            <a:off x="1115616" y="5416551"/>
            <a:ext cx="7694758"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pl-PL" sz="1100" b="1" dirty="0" smtClean="0">
                <a:latin typeface="Arial" charset="0"/>
              </a:rPr>
              <a:t>Zastosowanie turbin </a:t>
            </a:r>
            <a:r>
              <a:rPr lang="pl-PL" sz="1100" b="1" dirty="0" err="1" smtClean="0">
                <a:latin typeface="Arial" charset="0"/>
              </a:rPr>
              <a:t>Vestas</a:t>
            </a:r>
            <a:r>
              <a:rPr lang="pl-PL" sz="1100" b="1" dirty="0" smtClean="0">
                <a:latin typeface="Arial" charset="0"/>
              </a:rPr>
              <a:t> w zależności klas wiatru</a:t>
            </a:r>
            <a:endParaRPr lang="pl-PL" sz="1100" b="1" dirty="0">
              <a:latin typeface="Arial" charset="0"/>
            </a:endParaRPr>
          </a:p>
        </p:txBody>
      </p:sp>
    </p:spTree>
    <p:extLst>
      <p:ext uri="{BB962C8B-B14F-4D97-AF65-F5344CB8AC3E}">
        <p14:creationId xmlns:p14="http://schemas.microsoft.com/office/powerpoint/2010/main" val="2451548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6"/>
          <p:cNvSpPr>
            <a:spLocks noGrp="1"/>
          </p:cNvSpPr>
          <p:nvPr>
            <p:ph type="sldNum" sz="quarter" idx="12"/>
          </p:nvPr>
        </p:nvSpPr>
        <p:spPr/>
        <p:txBody>
          <a:bodyPr/>
          <a:lstStyle/>
          <a:p>
            <a:fld id="{AB88903A-EB2F-4E1C-8388-25C2ED8E4A43}" type="slidenum">
              <a:rPr lang="pl-PL"/>
              <a:pPr/>
              <a:t>22</a:t>
            </a:fld>
            <a:endParaRPr lang="pl-PL"/>
          </a:p>
        </p:txBody>
      </p:sp>
      <p:sp>
        <p:nvSpPr>
          <p:cNvPr id="368644" name="Rectangle 4"/>
          <p:cNvSpPr>
            <a:spLocks noGrp="1" noChangeArrowheads="1"/>
          </p:cNvSpPr>
          <p:nvPr>
            <p:ph type="title"/>
          </p:nvPr>
        </p:nvSpPr>
        <p:spPr>
          <a:noFill/>
          <a:ln/>
        </p:spPr>
        <p:txBody>
          <a:bodyPr/>
          <a:lstStyle/>
          <a:p>
            <a:r>
              <a:rPr lang="pl-PL" sz="2800" b="1" dirty="0" smtClean="0">
                <a:latin typeface="Arial" charset="0"/>
              </a:rPr>
              <a:t>V112 3.0</a:t>
            </a:r>
            <a:br>
              <a:rPr lang="pl-PL" sz="2800" b="1" dirty="0" smtClean="0">
                <a:latin typeface="Arial" charset="0"/>
              </a:rPr>
            </a:br>
            <a:endParaRPr lang="pl-PL" sz="2800" b="1" dirty="0">
              <a:latin typeface="Arial" charset="0"/>
            </a:endParaRPr>
          </a:p>
        </p:txBody>
      </p:sp>
      <p:pic>
        <p:nvPicPr>
          <p:cNvPr id="1024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700808"/>
            <a:ext cx="8807202" cy="4318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Box 7"/>
          <p:cNvSpPr txBox="1">
            <a:spLocks noChangeArrowheads="1"/>
          </p:cNvSpPr>
          <p:nvPr/>
        </p:nvSpPr>
        <p:spPr bwMode="auto">
          <a:xfrm>
            <a:off x="186805" y="908720"/>
            <a:ext cx="76947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pl-PL" sz="1600" b="1" dirty="0" smtClean="0">
                <a:latin typeface="Arial" charset="0"/>
              </a:rPr>
              <a:t>Istotne dane turbiny</a:t>
            </a:r>
            <a:endParaRPr lang="pl-PL" sz="1600" b="1" dirty="0">
              <a:latin typeface="Arial" charset="0"/>
            </a:endParaRPr>
          </a:p>
        </p:txBody>
      </p:sp>
    </p:spTree>
    <p:extLst>
      <p:ext uri="{BB962C8B-B14F-4D97-AF65-F5344CB8AC3E}">
        <p14:creationId xmlns:p14="http://schemas.microsoft.com/office/powerpoint/2010/main" val="1654436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1559" y="764704"/>
            <a:ext cx="8051911" cy="5711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ide Number Placeholder 6"/>
          <p:cNvSpPr>
            <a:spLocks noGrp="1"/>
          </p:cNvSpPr>
          <p:nvPr>
            <p:ph type="sldNum" sz="quarter" idx="12"/>
          </p:nvPr>
        </p:nvSpPr>
        <p:spPr/>
        <p:txBody>
          <a:bodyPr/>
          <a:lstStyle/>
          <a:p>
            <a:fld id="{AB88903A-EB2F-4E1C-8388-25C2ED8E4A43}" type="slidenum">
              <a:rPr lang="pl-PL"/>
              <a:pPr/>
              <a:t>23</a:t>
            </a:fld>
            <a:endParaRPr lang="pl-PL"/>
          </a:p>
        </p:txBody>
      </p:sp>
      <p:sp>
        <p:nvSpPr>
          <p:cNvPr id="7" name="Rectangle 4"/>
          <p:cNvSpPr>
            <a:spLocks noGrp="1" noChangeArrowheads="1"/>
          </p:cNvSpPr>
          <p:nvPr>
            <p:ph type="title"/>
          </p:nvPr>
        </p:nvSpPr>
        <p:spPr>
          <a:xfrm>
            <a:off x="215900" y="246063"/>
            <a:ext cx="8712200" cy="352425"/>
          </a:xfrm>
          <a:noFill/>
          <a:ln/>
        </p:spPr>
        <p:txBody>
          <a:bodyPr/>
          <a:lstStyle/>
          <a:p>
            <a:r>
              <a:rPr lang="pl-PL" sz="2800" b="1" dirty="0" smtClean="0">
                <a:latin typeface="Arial" charset="0"/>
              </a:rPr>
              <a:t>V112 3.0</a:t>
            </a:r>
            <a:br>
              <a:rPr lang="pl-PL" sz="2800" b="1" dirty="0" smtClean="0">
                <a:latin typeface="Arial" charset="0"/>
              </a:rPr>
            </a:br>
            <a:endParaRPr lang="pl-PL" sz="2800" b="1" dirty="0">
              <a:latin typeface="Arial" charset="0"/>
            </a:endParaRPr>
          </a:p>
        </p:txBody>
      </p:sp>
    </p:spTree>
    <p:extLst>
      <p:ext uri="{BB962C8B-B14F-4D97-AF65-F5344CB8AC3E}">
        <p14:creationId xmlns:p14="http://schemas.microsoft.com/office/powerpoint/2010/main" val="2527760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0" name="Rectangle 2"/>
          <p:cNvSpPr>
            <a:spLocks noGrp="1" noChangeArrowheads="1"/>
          </p:cNvSpPr>
          <p:nvPr>
            <p:ph type="title"/>
          </p:nvPr>
        </p:nvSpPr>
        <p:spPr>
          <a:xfrm>
            <a:off x="173359" y="188640"/>
            <a:ext cx="8712200" cy="352425"/>
          </a:xfrm>
        </p:spPr>
        <p:txBody>
          <a:bodyPr/>
          <a:lstStyle/>
          <a:p>
            <a:r>
              <a:rPr lang="en-US" sz="2800" b="1" dirty="0">
                <a:latin typeface="Arial" charset="0"/>
              </a:rPr>
              <a:t>54.6 </a:t>
            </a:r>
            <a:r>
              <a:rPr lang="en-US" sz="2800" b="1" dirty="0" smtClean="0">
                <a:latin typeface="Arial" charset="0"/>
              </a:rPr>
              <a:t>m</a:t>
            </a:r>
            <a:r>
              <a:rPr lang="pl-PL" sz="2800" b="1" dirty="0" err="1" smtClean="0">
                <a:latin typeface="Arial" charset="0"/>
              </a:rPr>
              <a:t>etrowe</a:t>
            </a:r>
            <a:r>
              <a:rPr lang="en-US" sz="2800" b="1" dirty="0" smtClean="0">
                <a:latin typeface="Arial" charset="0"/>
              </a:rPr>
              <a:t> </a:t>
            </a:r>
            <a:r>
              <a:rPr lang="pl-PL" sz="2800" b="1" dirty="0" smtClean="0">
                <a:latin typeface="Arial" charset="0"/>
              </a:rPr>
              <a:t>łopaty</a:t>
            </a:r>
            <a:endParaRPr lang="en-GB" sz="2800" b="1" dirty="0">
              <a:latin typeface="Arial" charset="0"/>
            </a:endParaRPr>
          </a:p>
        </p:txBody>
      </p:sp>
      <p:graphicFrame>
        <p:nvGraphicFramePr>
          <p:cNvPr id="171135" name="Group 127"/>
          <p:cNvGraphicFramePr>
            <a:graphicFrameLocks noGrp="1"/>
          </p:cNvGraphicFramePr>
          <p:nvPr>
            <p:extLst>
              <p:ext uri="{D42A27DB-BD31-4B8C-83A1-F6EECF244321}">
                <p14:modId xmlns:p14="http://schemas.microsoft.com/office/powerpoint/2010/main" val="3119004921"/>
              </p:ext>
            </p:extLst>
          </p:nvPr>
        </p:nvGraphicFramePr>
        <p:xfrm>
          <a:off x="215900" y="1052513"/>
          <a:ext cx="8712200" cy="4968775"/>
        </p:xfrm>
        <a:graphic>
          <a:graphicData uri="http://schemas.openxmlformats.org/drawingml/2006/table">
            <a:tbl>
              <a:tblPr/>
              <a:tblGrid>
                <a:gridCol w="8712200"/>
              </a:tblGrid>
              <a:tr h="4968775">
                <a:tc>
                  <a:txBody>
                    <a:bodyPr/>
                    <a:lstStyle/>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endParaRPr kumimoji="0" lang="en-GB" sz="1600" b="0" i="0" u="none" strike="noStrike" cap="none" normalizeH="0" baseline="0" dirty="0" smtClean="0">
                        <a:ln>
                          <a:noFill/>
                        </a:ln>
                        <a:solidFill>
                          <a:schemeClr val="bg1"/>
                        </a:solidFill>
                        <a:effectLst/>
                        <a:latin typeface="Arial" charset="0"/>
                      </a:endParaRPr>
                    </a:p>
                    <a:p>
                      <a:pPr marL="87313" marR="0" lvl="0" indent="-87313" algn="l" defTabSz="914400" rtl="0" eaLnBrk="1" fontAlgn="base" latinLnBrk="0" hangingPunct="1">
                        <a:lnSpc>
                          <a:spcPct val="97000"/>
                        </a:lnSpc>
                        <a:spcBef>
                          <a:spcPct val="20000"/>
                        </a:spcBef>
                        <a:spcAft>
                          <a:spcPct val="0"/>
                        </a:spcAft>
                        <a:buClrTx/>
                        <a:buSzTx/>
                        <a:buFontTx/>
                        <a:buNone/>
                        <a:tabLst/>
                      </a:pPr>
                      <a:r>
                        <a:rPr kumimoji="0" lang="en-GB" sz="1600" b="0" i="0" u="none" strike="noStrike" cap="none" normalizeH="0" baseline="0" dirty="0" smtClean="0">
                          <a:ln>
                            <a:noFill/>
                          </a:ln>
                          <a:solidFill>
                            <a:schemeClr val="bg1"/>
                          </a:solidFill>
                          <a:effectLst/>
                          <a:latin typeface="Arial" charset="0"/>
                        </a:rPr>
                        <a:t/>
                      </a:r>
                      <a:br>
                        <a:rPr kumimoji="0" lang="en-GB" sz="1600" b="0" i="0" u="none" strike="noStrike" cap="none" normalizeH="0" baseline="0" dirty="0" smtClean="0">
                          <a:ln>
                            <a:noFill/>
                          </a:ln>
                          <a:solidFill>
                            <a:schemeClr val="bg1"/>
                          </a:solidFill>
                          <a:effectLst/>
                          <a:latin typeface="Arial" charset="0"/>
                        </a:rPr>
                      </a:br>
                      <a:r>
                        <a:rPr kumimoji="0" lang="en-GB" sz="1600" b="0" i="0" u="none" strike="noStrike" cap="none" normalizeH="0" baseline="0" dirty="0" smtClean="0">
                          <a:ln>
                            <a:noFill/>
                          </a:ln>
                          <a:solidFill>
                            <a:schemeClr val="bg1"/>
                          </a:solidFill>
                          <a:effectLst/>
                          <a:latin typeface="Arial" charset="0"/>
                        </a:rPr>
                        <a:t/>
                      </a:r>
                      <a:br>
                        <a:rPr kumimoji="0" lang="en-GB" sz="1600" b="0" i="0" u="none" strike="noStrike" cap="none" normalizeH="0" baseline="0" dirty="0" smtClean="0">
                          <a:ln>
                            <a:noFill/>
                          </a:ln>
                          <a:solidFill>
                            <a:schemeClr val="bg1"/>
                          </a:solidFill>
                          <a:effectLst/>
                          <a:latin typeface="Arial" charset="0"/>
                        </a:rPr>
                      </a:br>
                      <a:r>
                        <a:rPr kumimoji="0" lang="en-GB" sz="1600" b="0" i="0" u="none" strike="noStrike" cap="none" normalizeH="0" baseline="0" dirty="0" smtClean="0">
                          <a:ln>
                            <a:noFill/>
                          </a:ln>
                          <a:solidFill>
                            <a:schemeClr val="bg1"/>
                          </a:solidFill>
                          <a:effectLst/>
                          <a:latin typeface="Arial" charset="0"/>
                        </a:rPr>
                        <a:t/>
                      </a:r>
                      <a:br>
                        <a:rPr kumimoji="0" lang="en-GB" sz="1600" b="0" i="0" u="none" strike="noStrike" cap="none" normalizeH="0" baseline="0" dirty="0" smtClean="0">
                          <a:ln>
                            <a:noFill/>
                          </a:ln>
                          <a:solidFill>
                            <a:schemeClr val="bg1"/>
                          </a:solidFill>
                          <a:effectLst/>
                          <a:latin typeface="Arial" charset="0"/>
                        </a:rPr>
                      </a:br>
                      <a:r>
                        <a:rPr lang="pl-PL" sz="1600" b="1" kern="1200" dirty="0" smtClean="0">
                          <a:solidFill>
                            <a:schemeClr val="tx1"/>
                          </a:solidFill>
                          <a:latin typeface="Arial" charset="0"/>
                          <a:ea typeface="+mn-ea"/>
                          <a:cs typeface="+mn-cs"/>
                        </a:rPr>
                        <a:t>Łopaty o długości 54,65 m umożliwiają wytworzenie większej ilości energii przy tej samej sile wiatru</a:t>
                      </a:r>
                    </a:p>
                    <a:p>
                      <a:pPr marL="87313" marR="0" lvl="0" indent="-87313" algn="l" defTabSz="914400" rtl="0" eaLnBrk="1" fontAlgn="base" latinLnBrk="0" hangingPunct="1">
                        <a:lnSpc>
                          <a:spcPct val="150000"/>
                        </a:lnSpc>
                        <a:spcBef>
                          <a:spcPct val="20000"/>
                        </a:spcBef>
                        <a:spcAft>
                          <a:spcPct val="0"/>
                        </a:spcAft>
                        <a:buClrTx/>
                        <a:buSzTx/>
                        <a:buFontTx/>
                        <a:buChar char="•"/>
                        <a:tabLst/>
                      </a:pPr>
                      <a:r>
                        <a:rPr lang="pl-PL" sz="1600" b="1" kern="1200" dirty="0" smtClean="0">
                          <a:solidFill>
                            <a:schemeClr val="tx1"/>
                          </a:solidFill>
                          <a:latin typeface="Arial" charset="0"/>
                          <a:ea typeface="+mn-ea"/>
                          <a:cs typeface="+mn-cs"/>
                        </a:rPr>
                        <a:t>Cięciwa łopat to nadal 4m – brak dodatkowych ograniczeń transportowych</a:t>
                      </a:r>
                    </a:p>
                    <a:p>
                      <a:pPr marL="87313" marR="0" lvl="0" indent="-87313" algn="l" defTabSz="914400" rtl="0" eaLnBrk="1" fontAlgn="base" latinLnBrk="0" hangingPunct="1">
                        <a:lnSpc>
                          <a:spcPct val="150000"/>
                        </a:lnSpc>
                        <a:spcBef>
                          <a:spcPct val="20000"/>
                        </a:spcBef>
                        <a:spcAft>
                          <a:spcPct val="0"/>
                        </a:spcAft>
                        <a:buClrTx/>
                        <a:buSzTx/>
                        <a:buFontTx/>
                        <a:buChar char="•"/>
                        <a:tabLst/>
                      </a:pPr>
                      <a:r>
                        <a:rPr lang="pl-PL" sz="1600" b="1" kern="1200" dirty="0" smtClean="0">
                          <a:solidFill>
                            <a:schemeClr val="tx1"/>
                          </a:solidFill>
                          <a:latin typeface="Arial" charset="0"/>
                          <a:ea typeface="+mn-ea"/>
                          <a:cs typeface="+mn-cs"/>
                        </a:rPr>
                        <a:t>Powierzchnia omiatania większa o 55% w porównaniu z modelem V90 – 3.0MW</a:t>
                      </a:r>
                    </a:p>
                    <a:p>
                      <a:pPr marL="87313" marR="0" lvl="0" indent="-87313" algn="l" defTabSz="914400" rtl="0" eaLnBrk="1" fontAlgn="base" latinLnBrk="0" hangingPunct="1">
                        <a:lnSpc>
                          <a:spcPct val="150000"/>
                        </a:lnSpc>
                        <a:spcBef>
                          <a:spcPct val="20000"/>
                        </a:spcBef>
                        <a:spcAft>
                          <a:spcPct val="0"/>
                        </a:spcAft>
                        <a:buClrTx/>
                        <a:buSzTx/>
                        <a:buFontTx/>
                        <a:buChar char="•"/>
                        <a:tabLst/>
                      </a:pPr>
                      <a:endParaRPr kumimoji="0" lang="en-US" sz="1600" b="0" i="0" u="none" strike="noStrike" cap="none" normalizeH="0" baseline="0" dirty="0" smtClean="0">
                        <a:ln>
                          <a:noFill/>
                        </a:ln>
                        <a:solidFill>
                          <a:schemeClr val="bg1"/>
                        </a:solidFill>
                        <a:effectLst/>
                        <a:latin typeface="Arial" charset="0"/>
                      </a:endParaRPr>
                    </a:p>
                  </a:txBody>
                  <a:tcPr marL="0" marR="0" marT="90000" marB="72000" horzOverflow="overflow">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sp>
        <p:nvSpPr>
          <p:cNvPr id="101385" name="Text Box 134"/>
          <p:cNvSpPr txBox="1">
            <a:spLocks noChangeArrowheads="1"/>
          </p:cNvSpPr>
          <p:nvPr/>
        </p:nvSpPr>
        <p:spPr bwMode="auto">
          <a:xfrm>
            <a:off x="215900" y="661988"/>
            <a:ext cx="80645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algn="ctr" eaLnBrk="0" fontAlgn="base" hangingPunct="0">
              <a:spcBef>
                <a:spcPct val="0"/>
              </a:spcBef>
              <a:spcAft>
                <a:spcPct val="0"/>
              </a:spcAft>
              <a:defRPr sz="1600">
                <a:solidFill>
                  <a:schemeClr val="bg1"/>
                </a:solidFill>
                <a:latin typeface="Arial" charset="0"/>
              </a:defRPr>
            </a:lvl6pPr>
            <a:lvl7pPr marL="2971800" indent="-228600" algn="ctr" eaLnBrk="0" fontAlgn="base" hangingPunct="0">
              <a:spcBef>
                <a:spcPct val="0"/>
              </a:spcBef>
              <a:spcAft>
                <a:spcPct val="0"/>
              </a:spcAft>
              <a:defRPr sz="1600">
                <a:solidFill>
                  <a:schemeClr val="bg1"/>
                </a:solidFill>
                <a:latin typeface="Arial" charset="0"/>
              </a:defRPr>
            </a:lvl7pPr>
            <a:lvl8pPr marL="3429000" indent="-228600" algn="ctr" eaLnBrk="0" fontAlgn="base" hangingPunct="0">
              <a:spcBef>
                <a:spcPct val="0"/>
              </a:spcBef>
              <a:spcAft>
                <a:spcPct val="0"/>
              </a:spcAft>
              <a:defRPr sz="1600">
                <a:solidFill>
                  <a:schemeClr val="bg1"/>
                </a:solidFill>
                <a:latin typeface="Arial" charset="0"/>
              </a:defRPr>
            </a:lvl8pPr>
            <a:lvl9pPr marL="3886200" indent="-228600" algn="ctr" eaLnBrk="0" fontAlgn="base" hangingPunct="0">
              <a:spcBef>
                <a:spcPct val="0"/>
              </a:spcBef>
              <a:spcAft>
                <a:spcPct val="0"/>
              </a:spcAft>
              <a:defRPr sz="1600">
                <a:solidFill>
                  <a:schemeClr val="bg1"/>
                </a:solidFill>
                <a:latin typeface="Arial" charset="0"/>
              </a:defRPr>
            </a:lvl9pPr>
          </a:lstStyle>
          <a:p>
            <a:pPr algn="l" eaLnBrk="1" hangingPunct="1">
              <a:lnSpc>
                <a:spcPts val="1900"/>
              </a:lnSpc>
              <a:spcBef>
                <a:spcPct val="50000"/>
              </a:spcBef>
            </a:pPr>
            <a:endParaRPr lang="en-US">
              <a:solidFill>
                <a:srgbClr val="0091D7"/>
              </a:solidFill>
            </a:endParaRPr>
          </a:p>
        </p:txBody>
      </p:sp>
      <p:pic>
        <p:nvPicPr>
          <p:cNvPr id="101386" name="Picture 2" descr="side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9425" y="1371600"/>
            <a:ext cx="7826375" cy="228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87" name="Picture 4"/>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t="14928" b="10043"/>
          <a:stretch>
            <a:fillRect/>
          </a:stretch>
        </p:blipFill>
        <p:spPr bwMode="auto">
          <a:xfrm>
            <a:off x="215900" y="1314450"/>
            <a:ext cx="8699500" cy="2546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149579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25682FD2-A730-4731-BC64-57BEF4E31A6B}" type="slidenum">
              <a:rPr lang="en-GB" sz="900" smtClean="0"/>
              <a:pPr eaLnBrk="1" hangingPunct="1"/>
              <a:t>25</a:t>
            </a:fld>
            <a:endParaRPr lang="en-GB" sz="900" smtClean="0"/>
          </a:p>
        </p:txBody>
      </p:sp>
      <p:sp>
        <p:nvSpPr>
          <p:cNvPr id="23557"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21510" name="Text Box 5"/>
          <p:cNvSpPr txBox="1">
            <a:spLocks noChangeArrowheads="1"/>
          </p:cNvSpPr>
          <p:nvPr/>
        </p:nvSpPr>
        <p:spPr bwMode="auto">
          <a:xfrm>
            <a:off x="431800" y="1177925"/>
            <a:ext cx="6119813" cy="58477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5725" indent="-85725" eaLnBrk="0" hangingPunct="0">
              <a:defRPr sz="1600">
                <a:solidFill>
                  <a:schemeClr val="bg1"/>
                </a:solidFill>
                <a:latin typeface="Arial" pitchFamily="34" charset="0"/>
              </a:defRPr>
            </a:lvl1pPr>
            <a:lvl2pPr marL="742950" indent="-285750" eaLnBrk="0" hangingPunct="0">
              <a:defRPr sz="1600">
                <a:solidFill>
                  <a:schemeClr val="bg1"/>
                </a:solidFill>
                <a:latin typeface="Arial" pitchFamily="34" charset="0"/>
              </a:defRPr>
            </a:lvl2pPr>
            <a:lvl3pPr marL="1143000" indent="-228600" eaLnBrk="0" hangingPunct="0">
              <a:defRPr sz="1600">
                <a:solidFill>
                  <a:schemeClr val="bg1"/>
                </a:solidFill>
                <a:latin typeface="Arial" pitchFamily="34" charset="0"/>
              </a:defRPr>
            </a:lvl3pPr>
            <a:lvl4pPr marL="1600200" indent="-228600" eaLnBrk="0" hangingPunct="0">
              <a:defRPr sz="1600">
                <a:solidFill>
                  <a:schemeClr val="bg1"/>
                </a:solidFill>
                <a:latin typeface="Arial" pitchFamily="34" charset="0"/>
              </a:defRPr>
            </a:lvl4pPr>
            <a:lvl5pPr marL="2057400" indent="-228600" eaLnBrk="0" hangingPunct="0">
              <a:defRPr sz="1600">
                <a:solidFill>
                  <a:schemeClr val="bg1"/>
                </a:solidFill>
                <a:latin typeface="Arial" pitchFamily="34" charset="0"/>
              </a:defRPr>
            </a:lvl5pPr>
            <a:lvl6pPr marL="2514600" indent="-228600" eaLnBrk="0" fontAlgn="base" hangingPunct="0">
              <a:spcBef>
                <a:spcPct val="0"/>
              </a:spcBef>
              <a:spcAft>
                <a:spcPct val="0"/>
              </a:spcAft>
              <a:defRPr sz="1600">
                <a:solidFill>
                  <a:schemeClr val="bg1"/>
                </a:solidFill>
                <a:latin typeface="Arial" pitchFamily="34" charset="0"/>
              </a:defRPr>
            </a:lvl6pPr>
            <a:lvl7pPr marL="2971800" indent="-228600" eaLnBrk="0" fontAlgn="base" hangingPunct="0">
              <a:spcBef>
                <a:spcPct val="0"/>
              </a:spcBef>
              <a:spcAft>
                <a:spcPct val="0"/>
              </a:spcAft>
              <a:defRPr sz="1600">
                <a:solidFill>
                  <a:schemeClr val="bg1"/>
                </a:solidFill>
                <a:latin typeface="Arial" pitchFamily="34" charset="0"/>
              </a:defRPr>
            </a:lvl7pPr>
            <a:lvl8pPr marL="3429000" indent="-228600" eaLnBrk="0" fontAlgn="base" hangingPunct="0">
              <a:spcBef>
                <a:spcPct val="0"/>
              </a:spcBef>
              <a:spcAft>
                <a:spcPct val="0"/>
              </a:spcAft>
              <a:defRPr sz="1600">
                <a:solidFill>
                  <a:schemeClr val="bg1"/>
                </a:solidFill>
                <a:latin typeface="Arial" pitchFamily="34" charset="0"/>
              </a:defRPr>
            </a:lvl8pPr>
            <a:lvl9pPr marL="3886200" indent="-228600" eaLnBrk="0" fontAlgn="base" hangingPunct="0">
              <a:spcBef>
                <a:spcPct val="0"/>
              </a:spcBef>
              <a:spcAft>
                <a:spcPct val="0"/>
              </a:spcAft>
              <a:defRPr sz="1600">
                <a:solidFill>
                  <a:schemeClr val="bg1"/>
                </a:solidFill>
                <a:latin typeface="Arial" pitchFamily="34" charset="0"/>
              </a:defRPr>
            </a:lvl9pPr>
          </a:lstStyle>
          <a:p>
            <a:pPr marL="0" indent="0" eaLnBrk="1" hangingPunct="1">
              <a:defRPr/>
            </a:pPr>
            <a:endParaRPr lang="da-DK" sz="1400" dirty="0" smtClean="0"/>
          </a:p>
          <a:p>
            <a:pPr eaLnBrk="1" hangingPunct="1">
              <a:spcBef>
                <a:spcPct val="50000"/>
              </a:spcBef>
              <a:defRPr/>
            </a:pPr>
            <a:endParaRPr lang="da-DK" dirty="0" smtClean="0"/>
          </a:p>
        </p:txBody>
      </p:sp>
      <p:pic>
        <p:nvPicPr>
          <p:cNvPr id="2355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24225"/>
            <a:ext cx="9144000" cy="289560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15900" y="1762700"/>
            <a:ext cx="8712200" cy="352425"/>
          </a:xfrm>
        </p:spPr>
        <p:txBody>
          <a:bodyPr/>
          <a:lstStyle/>
          <a:p>
            <a:r>
              <a:rPr lang="pl-PL" dirty="0" smtClean="0"/>
              <a:t>Proces sprzedaży elektrowni wiatrowych – wybrane aspekty</a:t>
            </a:r>
            <a:endParaRPr lang="de-DE" dirty="0"/>
          </a:p>
        </p:txBody>
      </p:sp>
    </p:spTree>
    <p:extLst>
      <p:ext uri="{BB962C8B-B14F-4D97-AF65-F5344CB8AC3E}">
        <p14:creationId xmlns:p14="http://schemas.microsoft.com/office/powerpoint/2010/main" val="25612653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6"/>
          <p:cNvSpPr>
            <a:spLocks noGrp="1"/>
          </p:cNvSpPr>
          <p:nvPr>
            <p:ph type="sldNum" sz="quarter" idx="12"/>
          </p:nvPr>
        </p:nvSpPr>
        <p:spPr/>
        <p:txBody>
          <a:bodyPr/>
          <a:lstStyle/>
          <a:p>
            <a:fld id="{AB88903A-EB2F-4E1C-8388-25C2ED8E4A43}" type="slidenum">
              <a:rPr lang="pl-PL"/>
              <a:pPr/>
              <a:t>26</a:t>
            </a:fld>
            <a:endParaRPr lang="pl-PL"/>
          </a:p>
        </p:txBody>
      </p:sp>
      <p:sp>
        <p:nvSpPr>
          <p:cNvPr id="368644" name="Rectangle 4"/>
          <p:cNvSpPr>
            <a:spLocks noGrp="1" noChangeArrowheads="1"/>
          </p:cNvSpPr>
          <p:nvPr>
            <p:ph type="title"/>
          </p:nvPr>
        </p:nvSpPr>
        <p:spPr>
          <a:noFill/>
          <a:ln/>
        </p:spPr>
        <p:txBody>
          <a:bodyPr/>
          <a:lstStyle/>
          <a:p>
            <a:r>
              <a:rPr lang="pl-PL" sz="2800" b="1" dirty="0" smtClean="0">
                <a:latin typeface="Arial" charset="0"/>
              </a:rPr>
              <a:t>Sprzedaż turbin</a:t>
            </a:r>
            <a:endParaRPr lang="pl-PL" sz="2800" b="1" dirty="0">
              <a:latin typeface="Arial" charset="0"/>
            </a:endParaRPr>
          </a:p>
        </p:txBody>
      </p:sp>
      <p:sp>
        <p:nvSpPr>
          <p:cNvPr id="6" name="Text Box 7"/>
          <p:cNvSpPr txBox="1">
            <a:spLocks noChangeArrowheads="1"/>
          </p:cNvSpPr>
          <p:nvPr/>
        </p:nvSpPr>
        <p:spPr bwMode="auto">
          <a:xfrm>
            <a:off x="395536" y="980728"/>
            <a:ext cx="7694758" cy="413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87313" indent="-87313" fontAlgn="base">
              <a:lnSpc>
                <a:spcPct val="150000"/>
              </a:lnSpc>
              <a:spcBef>
                <a:spcPct val="20000"/>
              </a:spcBef>
              <a:spcAft>
                <a:spcPct val="0"/>
              </a:spcAft>
              <a:buFontTx/>
              <a:buChar char="•"/>
            </a:pPr>
            <a:r>
              <a:rPr lang="pl-PL" sz="1600" b="1" dirty="0">
                <a:latin typeface="Arial" charset="0"/>
              </a:rPr>
              <a:t>Przedsprzedażowe wsparcie klienta w zakresie projektowania</a:t>
            </a:r>
          </a:p>
          <a:p>
            <a:pPr marL="87313" indent="-87313" fontAlgn="base">
              <a:lnSpc>
                <a:spcPct val="150000"/>
              </a:lnSpc>
              <a:spcBef>
                <a:spcPct val="20000"/>
              </a:spcBef>
              <a:spcAft>
                <a:spcPct val="0"/>
              </a:spcAft>
              <a:buFontTx/>
              <a:buChar char="•"/>
            </a:pPr>
            <a:r>
              <a:rPr lang="pl-PL" sz="1600" b="1" dirty="0">
                <a:latin typeface="Arial" charset="0"/>
              </a:rPr>
              <a:t>Dostawa i montaż turbiny</a:t>
            </a:r>
          </a:p>
          <a:p>
            <a:pPr marL="87313" indent="-87313" fontAlgn="base">
              <a:lnSpc>
                <a:spcPct val="150000"/>
              </a:lnSpc>
              <a:spcBef>
                <a:spcPct val="20000"/>
              </a:spcBef>
              <a:spcAft>
                <a:spcPct val="0"/>
              </a:spcAft>
              <a:buFontTx/>
              <a:buChar char="•"/>
            </a:pPr>
            <a:r>
              <a:rPr lang="pl-PL" sz="1600" b="1" dirty="0">
                <a:latin typeface="Arial" charset="0"/>
              </a:rPr>
              <a:t>Serwis </a:t>
            </a:r>
          </a:p>
          <a:p>
            <a:pPr lvl="1" algn="just" fontAlgn="base">
              <a:lnSpc>
                <a:spcPct val="150000"/>
              </a:lnSpc>
              <a:spcBef>
                <a:spcPct val="20000"/>
              </a:spcBef>
              <a:spcAft>
                <a:spcPct val="0"/>
              </a:spcAft>
            </a:pPr>
            <a:r>
              <a:rPr lang="pl-PL" sz="1100" b="1" dirty="0">
                <a:latin typeface="Arial" charset="0"/>
              </a:rPr>
              <a:t>AOM 4000 </a:t>
            </a:r>
            <a:r>
              <a:rPr lang="pl-PL" sz="1100" dirty="0">
                <a:latin typeface="Arial" charset="0"/>
              </a:rPr>
              <a:t>Pakiet zawiera wszystkie niezbędne elementy (główne podzespoły i materiały</a:t>
            </a:r>
            <a:r>
              <a:rPr lang="pl-PL" sz="1100" dirty="0" smtClean="0">
                <a:latin typeface="Arial" charset="0"/>
              </a:rPr>
              <a:t>). </a:t>
            </a:r>
            <a:r>
              <a:rPr lang="pl-PL" sz="1100" dirty="0">
                <a:latin typeface="Arial" charset="0"/>
              </a:rPr>
              <a:t>Umowa serwisowa obejmuje okres do 15 lat i </a:t>
            </a:r>
            <a:r>
              <a:rPr lang="pl-PL" sz="1100" dirty="0" smtClean="0">
                <a:latin typeface="Arial" charset="0"/>
              </a:rPr>
              <a:t>bazuje na </a:t>
            </a:r>
            <a:r>
              <a:rPr lang="pl-PL" sz="1100" dirty="0">
                <a:latin typeface="Arial" charset="0"/>
              </a:rPr>
              <a:t>tradycyjnej gwarancji opartej na pomiarze czasu – do 97%.</a:t>
            </a:r>
          </a:p>
          <a:p>
            <a:pPr lvl="1" algn="just" fontAlgn="base">
              <a:lnSpc>
                <a:spcPct val="150000"/>
              </a:lnSpc>
              <a:spcBef>
                <a:spcPct val="20000"/>
              </a:spcBef>
              <a:spcAft>
                <a:spcPct val="0"/>
              </a:spcAft>
            </a:pPr>
            <a:r>
              <a:rPr lang="pl-PL" sz="1100" b="1" dirty="0">
                <a:latin typeface="Arial" charset="0"/>
              </a:rPr>
              <a:t>AOM 5000 </a:t>
            </a:r>
            <a:r>
              <a:rPr lang="pl-PL" sz="1100" dirty="0">
                <a:latin typeface="Arial" charset="0"/>
              </a:rPr>
              <a:t>Pakiet obejmujący wszystkie niezbędne elementy w celu zapewnienia maksymalnej wydajności wraz z dodatkowymi usługami. Umowa serwisowa obejmuje okres do 15 lat i oparta jest na gwarancji dostępności opartą na pomiarze energii na poziomie do 97% (w zależności od wyników analizy danej lokalizacji). </a:t>
            </a:r>
          </a:p>
          <a:p>
            <a:pPr marL="87313" indent="-87313" fontAlgn="base">
              <a:lnSpc>
                <a:spcPct val="150000"/>
              </a:lnSpc>
              <a:spcBef>
                <a:spcPct val="20000"/>
              </a:spcBef>
              <a:spcAft>
                <a:spcPct val="0"/>
              </a:spcAft>
              <a:buFontTx/>
              <a:buChar char="•"/>
            </a:pPr>
            <a:endParaRPr lang="pl-PL" sz="1100" b="1" dirty="0">
              <a:latin typeface="Arial" charset="0"/>
            </a:endParaRPr>
          </a:p>
          <a:p>
            <a:pPr marL="87313" indent="-87313" fontAlgn="base">
              <a:lnSpc>
                <a:spcPct val="150000"/>
              </a:lnSpc>
              <a:spcBef>
                <a:spcPct val="20000"/>
              </a:spcBef>
              <a:spcAft>
                <a:spcPct val="0"/>
              </a:spcAft>
              <a:buFontTx/>
              <a:buChar char="•"/>
            </a:pPr>
            <a:r>
              <a:rPr lang="pl-PL" sz="1600" b="1" dirty="0">
                <a:latin typeface="Arial" charset="0"/>
              </a:rPr>
              <a:t>SCADA</a:t>
            </a:r>
            <a:r>
              <a:rPr lang="pl-PL" sz="1100" b="1" dirty="0">
                <a:latin typeface="Arial" charset="0"/>
              </a:rPr>
              <a:t> </a:t>
            </a:r>
            <a:endParaRPr lang="pl-PL" sz="1100" b="1" dirty="0" smtClean="0">
              <a:latin typeface="Arial" charset="0"/>
            </a:endParaRPr>
          </a:p>
          <a:p>
            <a:pPr lvl="1" algn="just" fontAlgn="base">
              <a:lnSpc>
                <a:spcPct val="150000"/>
              </a:lnSpc>
              <a:spcBef>
                <a:spcPct val="20000"/>
              </a:spcBef>
              <a:spcAft>
                <a:spcPct val="0"/>
              </a:spcAft>
            </a:pPr>
            <a:r>
              <a:rPr lang="pl-PL" sz="1100" dirty="0" smtClean="0">
                <a:latin typeface="Arial" charset="0"/>
              </a:rPr>
              <a:t>Turbiny </a:t>
            </a:r>
            <a:r>
              <a:rPr lang="pl-PL" sz="1100" dirty="0" err="1" smtClean="0">
                <a:latin typeface="Arial" charset="0"/>
              </a:rPr>
              <a:t>Vestas</a:t>
            </a:r>
            <a:r>
              <a:rPr lang="pl-PL" sz="1100" dirty="0" smtClean="0">
                <a:latin typeface="Arial" charset="0"/>
              </a:rPr>
              <a:t> </a:t>
            </a:r>
            <a:r>
              <a:rPr lang="pl-PL" sz="1100" dirty="0">
                <a:latin typeface="Arial" charset="0"/>
              </a:rPr>
              <a:t>korzystają z systemu </a:t>
            </a:r>
            <a:r>
              <a:rPr lang="pl-PL" sz="1100" dirty="0" smtClean="0">
                <a:latin typeface="Arial" charset="0"/>
              </a:rPr>
              <a:t>nadzorującego </a:t>
            </a:r>
            <a:r>
              <a:rPr lang="pl-PL" sz="1100" dirty="0">
                <a:latin typeface="Arial" charset="0"/>
              </a:rPr>
              <a:t>gromadzenia danych </a:t>
            </a:r>
            <a:r>
              <a:rPr lang="pl-PL" sz="1100" dirty="0" smtClean="0">
                <a:latin typeface="Arial" charset="0"/>
              </a:rPr>
              <a:t>SCADA (</a:t>
            </a:r>
            <a:r>
              <a:rPr lang="pl-PL" sz="1100" dirty="0" err="1" smtClean="0">
                <a:latin typeface="Arial" charset="0"/>
              </a:rPr>
              <a:t>Supervisory</a:t>
            </a:r>
            <a:r>
              <a:rPr lang="pl-PL" sz="1100" dirty="0" smtClean="0">
                <a:latin typeface="Arial" charset="0"/>
              </a:rPr>
              <a:t> </a:t>
            </a:r>
            <a:r>
              <a:rPr lang="pl-PL" sz="1100" dirty="0">
                <a:latin typeface="Arial" charset="0"/>
              </a:rPr>
              <a:t>Control and Data </a:t>
            </a:r>
            <a:r>
              <a:rPr lang="pl-PL" sz="1100" dirty="0" err="1" smtClean="0">
                <a:latin typeface="Arial" charset="0"/>
              </a:rPr>
              <a:t>Acquisition</a:t>
            </a:r>
            <a:r>
              <a:rPr lang="pl-PL" sz="1100" dirty="0" smtClean="0">
                <a:latin typeface="Arial" charset="0"/>
              </a:rPr>
              <a:t>). System </a:t>
            </a:r>
            <a:r>
              <a:rPr lang="pl-PL" sz="1100" dirty="0" err="1">
                <a:latin typeface="Arial" charset="0"/>
              </a:rPr>
              <a:t>VestasOnline</a:t>
            </a:r>
            <a:r>
              <a:rPr lang="pl-PL" sz="1100" dirty="0">
                <a:latin typeface="Arial" charset="0"/>
              </a:rPr>
              <a:t> ® Business </a:t>
            </a:r>
            <a:r>
              <a:rPr lang="pl-PL" sz="1100" dirty="0" smtClean="0">
                <a:latin typeface="Arial" charset="0"/>
              </a:rPr>
              <a:t>umożliwia </a:t>
            </a:r>
            <a:r>
              <a:rPr lang="pl-PL" sz="1100" dirty="0">
                <a:latin typeface="Arial" charset="0"/>
              </a:rPr>
              <a:t>monitorowanie wydajności oraz tworzenie </a:t>
            </a:r>
            <a:r>
              <a:rPr lang="pl-PL" sz="1100" dirty="0" smtClean="0">
                <a:latin typeface="Arial" charset="0"/>
              </a:rPr>
              <a:t>szczegółowych raportów </a:t>
            </a:r>
            <a:r>
              <a:rPr lang="pl-PL" sz="1100" dirty="0">
                <a:latin typeface="Arial" charset="0"/>
              </a:rPr>
              <a:t>z dowolnej lokalizacji na </a:t>
            </a:r>
            <a:r>
              <a:rPr lang="pl-PL" sz="1100" dirty="0" smtClean="0">
                <a:latin typeface="Arial" charset="0"/>
              </a:rPr>
              <a:t>świecie</a:t>
            </a:r>
            <a:r>
              <a:rPr lang="pl-PL" sz="1100" dirty="0">
                <a:latin typeface="Arial" charset="0"/>
              </a:rPr>
              <a:t>.</a:t>
            </a:r>
          </a:p>
        </p:txBody>
      </p:sp>
    </p:spTree>
    <p:extLst>
      <p:ext uri="{BB962C8B-B14F-4D97-AF65-F5344CB8AC3E}">
        <p14:creationId xmlns:p14="http://schemas.microsoft.com/office/powerpoint/2010/main" val="3110358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6"/>
          <p:cNvSpPr>
            <a:spLocks noGrp="1"/>
          </p:cNvSpPr>
          <p:nvPr>
            <p:ph type="sldNum" sz="quarter" idx="12"/>
          </p:nvPr>
        </p:nvSpPr>
        <p:spPr/>
        <p:txBody>
          <a:bodyPr/>
          <a:lstStyle/>
          <a:p>
            <a:fld id="{AB88903A-EB2F-4E1C-8388-25C2ED8E4A43}" type="slidenum">
              <a:rPr lang="pl-PL">
                <a:solidFill>
                  <a:srgbClr val="37424A"/>
                </a:solidFill>
              </a:rPr>
              <a:pPr/>
              <a:t>27</a:t>
            </a:fld>
            <a:endParaRPr lang="pl-PL">
              <a:solidFill>
                <a:srgbClr val="37424A"/>
              </a:solidFill>
            </a:endParaRPr>
          </a:p>
        </p:txBody>
      </p:sp>
      <p:sp>
        <p:nvSpPr>
          <p:cNvPr id="368644" name="Rectangle 4"/>
          <p:cNvSpPr>
            <a:spLocks noGrp="1" noChangeArrowheads="1"/>
          </p:cNvSpPr>
          <p:nvPr>
            <p:ph type="title"/>
          </p:nvPr>
        </p:nvSpPr>
        <p:spPr>
          <a:noFill/>
          <a:ln/>
        </p:spPr>
        <p:txBody>
          <a:bodyPr/>
          <a:lstStyle/>
          <a:p>
            <a:r>
              <a:rPr lang="pl-PL" sz="2800" b="1" dirty="0" smtClean="0">
                <a:latin typeface="Arial" charset="0"/>
              </a:rPr>
              <a:t>Etapy projektu farmy wiatrowej</a:t>
            </a:r>
            <a:endParaRPr lang="pl-PL" sz="2800" b="1" dirty="0">
              <a:latin typeface="Arial" charset="0"/>
            </a:endParaRPr>
          </a:p>
        </p:txBody>
      </p:sp>
      <p:sp>
        <p:nvSpPr>
          <p:cNvPr id="6" name="Text Box 7"/>
          <p:cNvSpPr txBox="1">
            <a:spLocks noChangeArrowheads="1"/>
          </p:cNvSpPr>
          <p:nvPr/>
        </p:nvSpPr>
        <p:spPr bwMode="auto">
          <a:xfrm>
            <a:off x="395536" y="980728"/>
            <a:ext cx="7694758" cy="5024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171450" indent="-171450">
              <a:spcBef>
                <a:spcPct val="50000"/>
              </a:spcBef>
              <a:buFont typeface="Arial" pitchFamily="34" charset="0"/>
              <a:buChar char="•"/>
            </a:pPr>
            <a:r>
              <a:rPr lang="pl-PL" sz="1600" dirty="0">
                <a:latin typeface="Arial" charset="0"/>
              </a:rPr>
              <a:t>pozyskanie </a:t>
            </a:r>
            <a:r>
              <a:rPr lang="pl-PL" sz="1600" noProof="1" smtClean="0">
                <a:latin typeface="Arial" charset="0"/>
              </a:rPr>
              <a:t>terenów pod elektrownię wiatrową</a:t>
            </a:r>
          </a:p>
          <a:p>
            <a:pPr marL="171450" indent="-171450">
              <a:spcBef>
                <a:spcPct val="50000"/>
              </a:spcBef>
              <a:buFont typeface="Arial" pitchFamily="34" charset="0"/>
              <a:buChar char="•"/>
            </a:pPr>
            <a:r>
              <a:rPr lang="pl-PL" sz="1600" noProof="1" smtClean="0">
                <a:latin typeface="Arial" charset="0"/>
              </a:rPr>
              <a:t>uzyskanie opinii Urzędu Lotnictwa Cywilnego i Wojskowego</a:t>
            </a:r>
          </a:p>
          <a:p>
            <a:pPr marL="171450" indent="-171450">
              <a:spcBef>
                <a:spcPct val="50000"/>
              </a:spcBef>
              <a:buFont typeface="Arial" pitchFamily="34" charset="0"/>
              <a:buChar char="•"/>
            </a:pPr>
            <a:r>
              <a:rPr lang="pl-PL" sz="1600" noProof="1" smtClean="0">
                <a:latin typeface="Arial" charset="0"/>
              </a:rPr>
              <a:t>raport z monitoringu chiropterologicznego i ornitologicznego</a:t>
            </a:r>
          </a:p>
          <a:p>
            <a:pPr marL="171450" indent="-171450">
              <a:spcBef>
                <a:spcPct val="50000"/>
              </a:spcBef>
              <a:buFont typeface="Arial" pitchFamily="34" charset="0"/>
              <a:buChar char="•"/>
            </a:pPr>
            <a:r>
              <a:rPr lang="pl-PL" sz="1600" dirty="0" smtClean="0">
                <a:latin typeface="Arial" charset="0"/>
              </a:rPr>
              <a:t>uzyskanie </a:t>
            </a:r>
            <a:r>
              <a:rPr lang="pl-PL" sz="1600" dirty="0">
                <a:latin typeface="Arial" charset="0"/>
              </a:rPr>
              <a:t>decyzji środowiskowej</a:t>
            </a:r>
          </a:p>
          <a:p>
            <a:pPr marL="171450" indent="-171450">
              <a:spcBef>
                <a:spcPct val="50000"/>
              </a:spcBef>
              <a:buFont typeface="Arial" pitchFamily="34" charset="0"/>
              <a:buChar char="•"/>
            </a:pPr>
            <a:r>
              <a:rPr lang="pl-PL" sz="1600" dirty="0">
                <a:latin typeface="Arial" charset="0"/>
              </a:rPr>
              <a:t>zmiany w planach zagospodarowania przestrzennego gmin</a:t>
            </a:r>
          </a:p>
          <a:p>
            <a:pPr marL="171450" indent="-171450">
              <a:spcBef>
                <a:spcPct val="50000"/>
              </a:spcBef>
              <a:buFont typeface="Arial" pitchFamily="34" charset="0"/>
              <a:buChar char="•"/>
            </a:pPr>
            <a:r>
              <a:rPr lang="pl-PL" sz="1600" dirty="0">
                <a:latin typeface="Arial" charset="0"/>
              </a:rPr>
              <a:t>wykonanie ekspertyz wpływu na KSE</a:t>
            </a:r>
          </a:p>
          <a:p>
            <a:pPr marL="171450" indent="-171450">
              <a:spcBef>
                <a:spcPct val="50000"/>
              </a:spcBef>
              <a:buFont typeface="Arial" pitchFamily="34" charset="0"/>
              <a:buChar char="•"/>
            </a:pPr>
            <a:r>
              <a:rPr lang="pl-PL" sz="1600" dirty="0">
                <a:latin typeface="Arial" charset="0"/>
              </a:rPr>
              <a:t>wystąpienie o warunki przyłączenia farmy wiatrowej do sieci elektroenergetycznej </a:t>
            </a:r>
          </a:p>
          <a:p>
            <a:pPr marL="171450" indent="-171450">
              <a:spcBef>
                <a:spcPct val="50000"/>
              </a:spcBef>
              <a:buFont typeface="Arial" pitchFamily="34" charset="0"/>
              <a:buChar char="•"/>
            </a:pPr>
            <a:r>
              <a:rPr lang="pl-PL" sz="1600" dirty="0">
                <a:latin typeface="Arial" charset="0"/>
              </a:rPr>
              <a:t>pomiary wietrzności</a:t>
            </a:r>
          </a:p>
          <a:p>
            <a:pPr marL="171450" indent="-171450">
              <a:spcBef>
                <a:spcPct val="50000"/>
              </a:spcBef>
              <a:buFont typeface="Arial" pitchFamily="34" charset="0"/>
              <a:buChar char="•"/>
            </a:pPr>
            <a:r>
              <a:rPr lang="pl-PL" sz="1600" dirty="0">
                <a:latin typeface="Arial" charset="0"/>
              </a:rPr>
              <a:t>pomiary geologiczne</a:t>
            </a:r>
          </a:p>
          <a:p>
            <a:pPr marL="171450" indent="-171450">
              <a:spcBef>
                <a:spcPct val="50000"/>
              </a:spcBef>
              <a:buFont typeface="Arial" pitchFamily="34" charset="0"/>
              <a:buChar char="•"/>
            </a:pPr>
            <a:r>
              <a:rPr lang="pl-PL" sz="1600" dirty="0">
                <a:latin typeface="Arial" charset="0"/>
              </a:rPr>
              <a:t>analizy archeologiczne</a:t>
            </a:r>
          </a:p>
          <a:p>
            <a:pPr marL="171450" indent="-171450">
              <a:spcBef>
                <a:spcPct val="50000"/>
              </a:spcBef>
              <a:buFont typeface="Arial" pitchFamily="34" charset="0"/>
              <a:buChar char="•"/>
            </a:pPr>
            <a:r>
              <a:rPr lang="pl-PL" sz="1600" dirty="0">
                <a:latin typeface="Arial" charset="0"/>
              </a:rPr>
              <a:t>projekt elektryczny </a:t>
            </a:r>
          </a:p>
          <a:p>
            <a:pPr marL="171450" indent="-171450">
              <a:spcBef>
                <a:spcPct val="50000"/>
              </a:spcBef>
              <a:buFont typeface="Arial" pitchFamily="34" charset="0"/>
              <a:buChar char="•"/>
            </a:pPr>
            <a:r>
              <a:rPr lang="pl-PL" sz="1600" dirty="0">
                <a:latin typeface="Arial" charset="0"/>
              </a:rPr>
              <a:t>projekt budowlany</a:t>
            </a:r>
          </a:p>
          <a:p>
            <a:pPr marL="171450" indent="-171450">
              <a:spcBef>
                <a:spcPct val="50000"/>
              </a:spcBef>
              <a:buFont typeface="Arial" pitchFamily="34" charset="0"/>
              <a:buChar char="•"/>
            </a:pPr>
            <a:r>
              <a:rPr lang="pl-PL" sz="1600" dirty="0">
                <a:latin typeface="Arial" charset="0"/>
              </a:rPr>
              <a:t>pozwolenia na budowę</a:t>
            </a:r>
          </a:p>
          <a:p>
            <a:pPr>
              <a:spcBef>
                <a:spcPct val="50000"/>
              </a:spcBef>
            </a:pPr>
            <a:endParaRPr lang="pl-PL" sz="1100" dirty="0">
              <a:solidFill>
                <a:srgbClr val="37424A"/>
              </a:solidFill>
            </a:endParaRPr>
          </a:p>
        </p:txBody>
      </p:sp>
    </p:spTree>
    <p:extLst>
      <p:ext uri="{BB962C8B-B14F-4D97-AF65-F5344CB8AC3E}">
        <p14:creationId xmlns:p14="http://schemas.microsoft.com/office/powerpoint/2010/main" val="8224200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2" descr="sk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7" name="Text Box 11"/>
          <p:cNvSpPr txBox="1">
            <a:spLocks noChangeArrowheads="1"/>
          </p:cNvSpPr>
          <p:nvPr/>
        </p:nvSpPr>
        <p:spPr bwMode="auto">
          <a:xfrm>
            <a:off x="647700" y="5984875"/>
            <a:ext cx="80645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1600">
                <a:solidFill>
                  <a:schemeClr val="bg1"/>
                </a:solidFill>
                <a:latin typeface="Arial" charset="0"/>
                <a:cs typeface="Arial" charset="0"/>
              </a:defRPr>
            </a:lvl1pPr>
            <a:lvl2pPr marL="742950" indent="-285750" eaLnBrk="0" hangingPunct="0">
              <a:defRPr sz="1600">
                <a:solidFill>
                  <a:schemeClr val="bg1"/>
                </a:solidFill>
                <a:latin typeface="Arial" charset="0"/>
                <a:cs typeface="Arial" charset="0"/>
              </a:defRPr>
            </a:lvl2pPr>
            <a:lvl3pPr marL="1143000" indent="-228600" eaLnBrk="0" hangingPunct="0">
              <a:defRPr sz="1600">
                <a:solidFill>
                  <a:schemeClr val="bg1"/>
                </a:solidFill>
                <a:latin typeface="Arial" charset="0"/>
                <a:cs typeface="Arial" charset="0"/>
              </a:defRPr>
            </a:lvl3pPr>
            <a:lvl4pPr marL="1600200" indent="-228600" eaLnBrk="0" hangingPunct="0">
              <a:defRPr sz="1600">
                <a:solidFill>
                  <a:schemeClr val="bg1"/>
                </a:solidFill>
                <a:latin typeface="Arial" charset="0"/>
                <a:cs typeface="Arial" charset="0"/>
              </a:defRPr>
            </a:lvl4pPr>
            <a:lvl5pPr marL="2057400" indent="-228600" eaLnBrk="0" hangingPunct="0">
              <a:defRPr sz="1600">
                <a:solidFill>
                  <a:schemeClr val="bg1"/>
                </a:solidFill>
                <a:latin typeface="Arial" charset="0"/>
                <a:cs typeface="Arial" charset="0"/>
              </a:defRPr>
            </a:lvl5pPr>
            <a:lvl6pPr marL="2514600" indent="-228600" eaLnBrk="0" fontAlgn="base" hangingPunct="0">
              <a:spcBef>
                <a:spcPct val="0"/>
              </a:spcBef>
              <a:spcAft>
                <a:spcPct val="0"/>
              </a:spcAft>
              <a:defRPr sz="1600">
                <a:solidFill>
                  <a:schemeClr val="bg1"/>
                </a:solidFill>
                <a:latin typeface="Arial" charset="0"/>
                <a:cs typeface="Arial" charset="0"/>
              </a:defRPr>
            </a:lvl6pPr>
            <a:lvl7pPr marL="2971800" indent="-228600" eaLnBrk="0" fontAlgn="base" hangingPunct="0">
              <a:spcBef>
                <a:spcPct val="0"/>
              </a:spcBef>
              <a:spcAft>
                <a:spcPct val="0"/>
              </a:spcAft>
              <a:defRPr sz="1600">
                <a:solidFill>
                  <a:schemeClr val="bg1"/>
                </a:solidFill>
                <a:latin typeface="Arial" charset="0"/>
                <a:cs typeface="Arial" charset="0"/>
              </a:defRPr>
            </a:lvl7pPr>
            <a:lvl8pPr marL="3429000" indent="-228600" eaLnBrk="0" fontAlgn="base" hangingPunct="0">
              <a:spcBef>
                <a:spcPct val="0"/>
              </a:spcBef>
              <a:spcAft>
                <a:spcPct val="0"/>
              </a:spcAft>
              <a:defRPr sz="1600">
                <a:solidFill>
                  <a:schemeClr val="bg1"/>
                </a:solidFill>
                <a:latin typeface="Arial" charset="0"/>
                <a:cs typeface="Arial" charset="0"/>
              </a:defRPr>
            </a:lvl8pPr>
            <a:lvl9pPr marL="3886200" indent="-228600" eaLnBrk="0" fontAlgn="base" hangingPunct="0">
              <a:spcBef>
                <a:spcPct val="0"/>
              </a:spcBef>
              <a:spcAft>
                <a:spcPct val="0"/>
              </a:spcAft>
              <a:defRPr sz="1600">
                <a:solidFill>
                  <a:schemeClr val="bg1"/>
                </a:solidFill>
                <a:latin typeface="Arial" charset="0"/>
                <a:cs typeface="Arial" charset="0"/>
              </a:defRPr>
            </a:lvl9pPr>
          </a:lstStyle>
          <a:p>
            <a:pPr eaLnBrk="1" fontAlgn="base" hangingPunct="1">
              <a:lnSpc>
                <a:spcPts val="800"/>
              </a:lnSpc>
              <a:spcBef>
                <a:spcPct val="0"/>
              </a:spcBef>
              <a:spcAft>
                <a:spcPct val="0"/>
              </a:spcAft>
            </a:pPr>
            <a:r>
              <a:rPr lang="en-GB" sz="600" smtClean="0">
                <a:solidFill>
                  <a:srgbClr val="37424A"/>
                </a:solidFill>
              </a:rPr>
              <a:t>Copyright Notice</a:t>
            </a:r>
          </a:p>
          <a:p>
            <a:pPr eaLnBrk="1" fontAlgn="base" hangingPunct="1">
              <a:lnSpc>
                <a:spcPts val="800"/>
              </a:lnSpc>
              <a:spcBef>
                <a:spcPct val="0"/>
              </a:spcBef>
              <a:spcAft>
                <a:spcPct val="0"/>
              </a:spcAft>
            </a:pPr>
            <a:r>
              <a:rPr lang="en-GB" sz="600" smtClean="0">
                <a:solidFill>
                  <a:srgbClr val="37424A"/>
                </a:solidFill>
              </a:rPr>
              <a:t>The documents are created by Vestas Wind Systems A/S and contain copyrighted material, trademarks, and other proprietary information. All rights reserved. No part of the documents may be reproduced or copied in any form or by any</a:t>
            </a:r>
          </a:p>
          <a:p>
            <a:pPr eaLnBrk="1" fontAlgn="base" hangingPunct="1">
              <a:lnSpc>
                <a:spcPts val="800"/>
              </a:lnSpc>
              <a:spcBef>
                <a:spcPct val="0"/>
              </a:spcBef>
              <a:spcAft>
                <a:spcPct val="0"/>
              </a:spcAft>
            </a:pPr>
            <a:r>
              <a:rPr lang="en-GB" sz="600" smtClean="0">
                <a:solidFill>
                  <a:srgbClr val="37424A"/>
                </a:solidFill>
              </a:rPr>
              <a:t>means—such as graphic, electronic, or mechanical, including photocopying, taping, or information storage and retrieval systems without the prior written permission of Vestas Wind Systems A/S. The use of these documents by you, or</a:t>
            </a:r>
          </a:p>
          <a:p>
            <a:pPr eaLnBrk="1" fontAlgn="base" hangingPunct="1">
              <a:lnSpc>
                <a:spcPts val="800"/>
              </a:lnSpc>
              <a:spcBef>
                <a:spcPct val="0"/>
              </a:spcBef>
              <a:spcAft>
                <a:spcPct val="0"/>
              </a:spcAft>
            </a:pPr>
            <a:r>
              <a:rPr lang="en-GB" sz="600" smtClean="0">
                <a:solidFill>
                  <a:srgbClr val="37424A"/>
                </a:solidFill>
              </a:rPr>
              <a:t>anyone else authorized by you, is prohibited unless specifically permitted by Vestas Wind Systems A/S. You may not alter or remove any trademark, copyright or other notice from the documents. The documents are provided “as is” and</a:t>
            </a:r>
          </a:p>
          <a:p>
            <a:pPr eaLnBrk="1" fontAlgn="base" hangingPunct="1">
              <a:lnSpc>
                <a:spcPts val="800"/>
              </a:lnSpc>
              <a:spcBef>
                <a:spcPct val="0"/>
              </a:spcBef>
              <a:spcAft>
                <a:spcPct val="0"/>
              </a:spcAft>
            </a:pPr>
            <a:r>
              <a:rPr lang="en-GB" sz="600" smtClean="0">
                <a:solidFill>
                  <a:srgbClr val="37424A"/>
                </a:solidFill>
              </a:rPr>
              <a:t>Vestas Wind Systems A/S shall not have any responsibility or liability whatsoever for the results of use of the documents by you. Vestas wishes to acknowledge and respect all copyrights in connection with the illustrations used in this</a:t>
            </a:r>
          </a:p>
          <a:p>
            <a:pPr eaLnBrk="1" fontAlgn="base" hangingPunct="1">
              <a:lnSpc>
                <a:spcPts val="800"/>
              </a:lnSpc>
              <a:spcBef>
                <a:spcPct val="0"/>
              </a:spcBef>
              <a:spcAft>
                <a:spcPct val="0"/>
              </a:spcAft>
            </a:pPr>
            <a:r>
              <a:rPr lang="en-GB" sz="600" smtClean="0">
                <a:solidFill>
                  <a:srgbClr val="37424A"/>
                </a:solidFill>
              </a:rPr>
              <a:t>presentation. In case we have unintentionally violated copyrighted material, we want to be informed immediately in order to straighten things out and thus to honour any obligatory fees.</a:t>
            </a:r>
          </a:p>
        </p:txBody>
      </p:sp>
      <p:sp>
        <p:nvSpPr>
          <p:cNvPr id="16388" name="Rectangle 13"/>
          <p:cNvSpPr>
            <a:spLocks noGrp="1" noChangeArrowheads="1"/>
          </p:cNvSpPr>
          <p:nvPr>
            <p:ph type="ctrTitle"/>
          </p:nvPr>
        </p:nvSpPr>
        <p:spPr/>
        <p:txBody>
          <a:bodyPr/>
          <a:lstStyle/>
          <a:p>
            <a:pPr eaLnBrk="1" hangingPunct="1"/>
            <a:r>
              <a:rPr lang="pl-PL" sz="1800" dirty="0" smtClean="0">
                <a:ea typeface="ＭＳ Ｐゴシック" pitchFamily="34" charset="-128"/>
              </a:rPr>
              <a:t>Ewa Zbierajewska</a:t>
            </a:r>
            <a:br>
              <a:rPr lang="pl-PL" sz="1800" dirty="0" smtClean="0">
                <a:ea typeface="ＭＳ Ｐゴシック" pitchFamily="34" charset="-128"/>
              </a:rPr>
            </a:br>
            <a:r>
              <a:rPr lang="pl-PL" sz="1800" dirty="0" smtClean="0">
                <a:ea typeface="ＭＳ Ｐゴシック" pitchFamily="34" charset="-128"/>
                <a:hlinkClick r:id="rId4"/>
              </a:rPr>
              <a:t>ewzae@vestas.com</a:t>
            </a:r>
            <a:r>
              <a:rPr lang="pl-PL" sz="1800" dirty="0" smtClean="0">
                <a:ea typeface="ＭＳ Ｐゴシック" pitchFamily="34" charset="-128"/>
              </a:rPr>
              <a:t/>
            </a:r>
            <a:br>
              <a:rPr lang="pl-PL" sz="1800" dirty="0" smtClean="0">
                <a:ea typeface="ＭＳ Ｐゴシック" pitchFamily="34" charset="-128"/>
              </a:rPr>
            </a:br>
            <a:r>
              <a:rPr lang="pl-PL" sz="1800" dirty="0">
                <a:ea typeface="ＭＳ Ｐゴシック" pitchFamily="34" charset="-128"/>
              </a:rPr>
              <a:t/>
            </a:r>
            <a:br>
              <a:rPr lang="pl-PL" sz="1800" dirty="0">
                <a:ea typeface="ＭＳ Ｐゴシック" pitchFamily="34" charset="-128"/>
              </a:rPr>
            </a:br>
            <a:r>
              <a:rPr lang="pl-PL" sz="1800" dirty="0" smtClean="0">
                <a:ea typeface="ＭＳ Ｐゴシック" pitchFamily="34" charset="-128"/>
              </a:rPr>
              <a:t>Tomasz Surma</a:t>
            </a:r>
            <a:br>
              <a:rPr lang="pl-PL" sz="1800" dirty="0" smtClean="0">
                <a:ea typeface="ＭＳ Ｐゴシック" pitchFamily="34" charset="-128"/>
              </a:rPr>
            </a:br>
            <a:r>
              <a:rPr lang="pl-PL" sz="1800" dirty="0" smtClean="0">
                <a:ea typeface="ＭＳ Ｐゴシック" pitchFamily="34" charset="-128"/>
                <a:hlinkClick r:id="rId5"/>
              </a:rPr>
              <a:t>tasum@vestas.com</a:t>
            </a:r>
            <a:r>
              <a:rPr lang="pl-PL" sz="1800" dirty="0" smtClean="0">
                <a:ea typeface="ＭＳ Ｐゴシック" pitchFamily="34" charset="-128"/>
              </a:rPr>
              <a:t/>
            </a:r>
            <a:br>
              <a:rPr lang="pl-PL" sz="1800" dirty="0" smtClean="0">
                <a:ea typeface="ＭＳ Ｐゴシック" pitchFamily="34" charset="-128"/>
              </a:rPr>
            </a:br>
            <a:endParaRPr lang="en-GB" sz="1800" dirty="0" smtClean="0">
              <a:ea typeface="ＭＳ Ｐゴシック" pitchFamily="34" charset="-128"/>
            </a:endParaRPr>
          </a:p>
        </p:txBody>
      </p:sp>
      <p:pic>
        <p:nvPicPr>
          <p:cNvPr id="16391" name="Picture 7" descr="Vestas_logo_whit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5300" y="304800"/>
            <a:ext cx="1600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Picture 9" descr="Vestas_Tagline_bi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43625" y="381000"/>
            <a:ext cx="271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0729523"/>
      </p:ext>
    </p:extLst>
  </p:cSld>
  <p:clrMapOvr>
    <a:masterClrMapping/>
  </p:clrMapOvr>
  <p:transition spd="slow"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Footer Placeholder 4"/>
          <p:cNvSpPr>
            <a:spLocks noGrp="1"/>
          </p:cNvSpPr>
          <p:nvPr>
            <p:ph type="ftr" sz="quarter" idx="11"/>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r>
              <a:rPr lang="en-GB" sz="900" smtClean="0"/>
              <a:t> Vestas Corporate presentation</a:t>
            </a:r>
          </a:p>
        </p:txBody>
      </p:sp>
      <p:sp>
        <p:nvSpPr>
          <p:cNvPr id="4099"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3ACAB971-6497-4B4B-BC61-DCA88BC61498}" type="slidenum">
              <a:rPr lang="en-GB" sz="900" smtClean="0"/>
              <a:pPr eaLnBrk="1" hangingPunct="1"/>
              <a:t>3</a:t>
            </a:fld>
            <a:endParaRPr lang="en-GB" sz="900" smtClean="0"/>
          </a:p>
        </p:txBody>
      </p:sp>
      <p:sp>
        <p:nvSpPr>
          <p:cNvPr id="4100" name="Rectangle 2"/>
          <p:cNvSpPr>
            <a:spLocks noGrp="1" noChangeArrowheads="1"/>
          </p:cNvSpPr>
          <p:nvPr>
            <p:ph type="title"/>
          </p:nvPr>
        </p:nvSpPr>
        <p:spPr>
          <a:xfrm>
            <a:off x="215900" y="100012"/>
            <a:ext cx="8712200" cy="808038"/>
          </a:xfrm>
          <a:noFill/>
        </p:spPr>
        <p:txBody>
          <a:bodyPr/>
          <a:lstStyle/>
          <a:p>
            <a:pPr eaLnBrk="1" hangingPunct="1"/>
            <a:r>
              <a:rPr lang="en-GB" sz="2800" b="1" dirty="0" err="1" smtClean="0"/>
              <a:t>Vestas</a:t>
            </a:r>
            <a:r>
              <a:rPr lang="en-GB" sz="2800" b="1" dirty="0" smtClean="0"/>
              <a:t> </a:t>
            </a:r>
            <a:r>
              <a:rPr lang="en-GB" dirty="0" smtClean="0"/>
              <a:t/>
            </a:r>
            <a:br>
              <a:rPr lang="en-GB" dirty="0" smtClean="0"/>
            </a:br>
            <a:endParaRPr lang="en-GB" sz="1600" dirty="0" smtClean="0">
              <a:solidFill>
                <a:schemeClr val="hlink"/>
              </a:solidFill>
            </a:endParaRPr>
          </a:p>
        </p:txBody>
      </p:sp>
      <p:sp>
        <p:nvSpPr>
          <p:cNvPr id="4101"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447527" name="Line 39"/>
          <p:cNvSpPr>
            <a:spLocks noChangeShapeType="1"/>
          </p:cNvSpPr>
          <p:nvPr/>
        </p:nvSpPr>
        <p:spPr bwMode="auto">
          <a:xfrm>
            <a:off x="431800" y="2911475"/>
            <a:ext cx="84867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447528" name="Line 40"/>
          <p:cNvSpPr>
            <a:spLocks noChangeShapeType="1"/>
          </p:cNvSpPr>
          <p:nvPr/>
        </p:nvSpPr>
        <p:spPr bwMode="auto">
          <a:xfrm>
            <a:off x="431800" y="4457700"/>
            <a:ext cx="84867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nvGrpSpPr>
          <p:cNvPr id="447573" name="Group 85"/>
          <p:cNvGrpSpPr>
            <a:grpSpLocks/>
          </p:cNvGrpSpPr>
          <p:nvPr/>
        </p:nvGrpSpPr>
        <p:grpSpPr bwMode="auto">
          <a:xfrm>
            <a:off x="341313" y="1285875"/>
            <a:ext cx="1655762" cy="2133600"/>
            <a:chOff x="215" y="810"/>
            <a:chExt cx="1043" cy="1344"/>
          </a:xfrm>
        </p:grpSpPr>
        <p:pic>
          <p:nvPicPr>
            <p:cNvPr id="4155" name="Picture 4" descr="shadow_new"/>
            <p:cNvPicPr>
              <a:picLocks noChangeAspect="1" noChangeArrowheads="1"/>
            </p:cNvPicPr>
            <p:nvPr>
              <p:custDataLst>
                <p:tags r:id="rId8"/>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215" y="972"/>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56" name="Group 61"/>
            <p:cNvGrpSpPr>
              <a:grpSpLocks/>
            </p:cNvGrpSpPr>
            <p:nvPr/>
          </p:nvGrpSpPr>
          <p:grpSpPr bwMode="auto">
            <a:xfrm>
              <a:off x="379" y="810"/>
              <a:ext cx="658" cy="1344"/>
              <a:chOff x="379" y="810"/>
              <a:chExt cx="658" cy="1344"/>
            </a:xfrm>
          </p:grpSpPr>
          <p:sp>
            <p:nvSpPr>
              <p:cNvPr id="4157" name="Text Box 6"/>
              <p:cNvSpPr txBox="1">
                <a:spLocks noChangeArrowheads="1"/>
              </p:cNvSpPr>
              <p:nvPr/>
            </p:nvSpPr>
            <p:spPr bwMode="auto">
              <a:xfrm>
                <a:off x="379" y="1901"/>
                <a:ext cx="658" cy="253"/>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lnSpc>
                    <a:spcPct val="87000"/>
                  </a:lnSpc>
                  <a:spcBef>
                    <a:spcPct val="20000"/>
                  </a:spcBef>
                </a:pPr>
                <a:r>
                  <a:rPr lang="en-US" sz="1000" b="1" dirty="0"/>
                  <a:t>1898:</a:t>
                </a:r>
                <a:r>
                  <a:rPr lang="en-US" sz="1000" dirty="0"/>
                  <a:t> </a:t>
                </a:r>
                <a:br>
                  <a:rPr lang="en-US" sz="1000" dirty="0"/>
                </a:br>
                <a:r>
                  <a:rPr lang="en-US" sz="1000" dirty="0"/>
                  <a:t>Blacksmith H.S. </a:t>
                </a:r>
                <a:r>
                  <a:rPr lang="en-US" sz="1000" dirty="0" err="1" smtClean="0"/>
                  <a:t>Lem</a:t>
                </a:r>
                <a:endParaRPr lang="da-DK" sz="1000" dirty="0"/>
              </a:p>
            </p:txBody>
          </p:sp>
          <p:grpSp>
            <p:nvGrpSpPr>
              <p:cNvPr id="4158" name="Group 57"/>
              <p:cNvGrpSpPr>
                <a:grpSpLocks/>
              </p:cNvGrpSpPr>
              <p:nvPr/>
            </p:nvGrpSpPr>
            <p:grpSpPr bwMode="auto">
              <a:xfrm>
                <a:off x="410" y="810"/>
                <a:ext cx="596" cy="1021"/>
                <a:chOff x="412" y="842"/>
                <a:chExt cx="596" cy="1021"/>
              </a:xfrm>
            </p:grpSpPr>
            <p:pic>
              <p:nvPicPr>
                <p:cNvPr id="4159" name="Picture 32" descr="1898"/>
                <p:cNvPicPr>
                  <a:picLocks noChangeAspect="1" noChangeArrowheads="1"/>
                </p:cNvPicPr>
                <p:nvPr/>
              </p:nvPicPr>
              <p:blipFill>
                <a:blip r:embed="rId12">
                  <a:extLst>
                    <a:ext uri="{28A0092B-C50C-407E-A947-70E740481C1C}">
                      <a14:useLocalDpi xmlns:a14="http://schemas.microsoft.com/office/drawing/2010/main" val="0"/>
                    </a:ext>
                  </a:extLst>
                </a:blip>
                <a:srcRect t="2516"/>
                <a:stretch>
                  <a:fillRect/>
                </a:stretch>
              </p:blipFill>
              <p:spPr bwMode="auto">
                <a:xfrm>
                  <a:off x="412" y="842"/>
                  <a:ext cx="596" cy="58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60" name="Line 41"/>
                <p:cNvSpPr>
                  <a:spLocks noChangeShapeType="1"/>
                </p:cNvSpPr>
                <p:nvPr/>
              </p:nvSpPr>
              <p:spPr bwMode="auto">
                <a:xfrm flipV="1">
                  <a:off x="710" y="1423"/>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66" name="Group 78"/>
          <p:cNvGrpSpPr>
            <a:grpSpLocks/>
          </p:cNvGrpSpPr>
          <p:nvPr/>
        </p:nvGrpSpPr>
        <p:grpSpPr bwMode="auto">
          <a:xfrm>
            <a:off x="2592388" y="1279525"/>
            <a:ext cx="1655762" cy="2308226"/>
            <a:chOff x="1633" y="806"/>
            <a:chExt cx="1043" cy="1454"/>
          </a:xfrm>
        </p:grpSpPr>
        <p:pic>
          <p:nvPicPr>
            <p:cNvPr id="4149" name="Picture 4" descr="shadow_new"/>
            <p:cNvPicPr>
              <a:picLocks noChangeAspect="1" noChangeArrowheads="1"/>
            </p:cNvPicPr>
            <p:nvPr>
              <p:custDataLst>
                <p:tags r:id="rId7"/>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1633" y="972"/>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50" name="Group 62"/>
            <p:cNvGrpSpPr>
              <a:grpSpLocks/>
            </p:cNvGrpSpPr>
            <p:nvPr/>
          </p:nvGrpSpPr>
          <p:grpSpPr bwMode="auto">
            <a:xfrm>
              <a:off x="1757" y="806"/>
              <a:ext cx="777" cy="1454"/>
              <a:chOff x="1757" y="806"/>
              <a:chExt cx="777" cy="1454"/>
            </a:xfrm>
          </p:grpSpPr>
          <p:sp>
            <p:nvSpPr>
              <p:cNvPr id="4151" name="Text Box 9"/>
              <p:cNvSpPr txBox="1">
                <a:spLocks noChangeArrowheads="1"/>
              </p:cNvSpPr>
              <p:nvPr/>
            </p:nvSpPr>
            <p:spPr bwMode="auto">
              <a:xfrm>
                <a:off x="1757" y="1901"/>
                <a:ext cx="777" cy="359"/>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en-US" sz="1000" b="1" dirty="0"/>
                  <a:t>1945:</a:t>
                </a:r>
                <a:r>
                  <a:rPr lang="en-US" sz="1000" dirty="0"/>
                  <a:t> </a:t>
                </a:r>
                <a:br>
                  <a:rPr lang="en-US" sz="1000" dirty="0"/>
                </a:br>
                <a:r>
                  <a:rPr lang="en-US" sz="900" b="1" dirty="0" err="1"/>
                  <a:t>VE</a:t>
                </a:r>
                <a:r>
                  <a:rPr lang="en-US" sz="900" dirty="0" err="1"/>
                  <a:t>stjysk</a:t>
                </a:r>
                <a:r>
                  <a:rPr lang="en-US" sz="900" dirty="0"/>
                  <a:t> </a:t>
                </a:r>
                <a:r>
                  <a:rPr lang="en-US" sz="900" b="1" dirty="0" err="1"/>
                  <a:t>ST</a:t>
                </a:r>
                <a:r>
                  <a:rPr lang="en-US" sz="900" dirty="0" err="1"/>
                  <a:t>aalteknik</a:t>
                </a:r>
                <a:r>
                  <a:rPr lang="en-US" sz="900" dirty="0"/>
                  <a:t> </a:t>
                </a:r>
                <a:r>
                  <a:rPr lang="en-US" sz="900" b="1" dirty="0"/>
                  <a:t>A/S</a:t>
                </a:r>
                <a:r>
                  <a:rPr lang="en-US" sz="900" dirty="0"/>
                  <a:t> </a:t>
                </a:r>
                <a:r>
                  <a:rPr lang="pl-PL" sz="900" dirty="0" smtClean="0"/>
                  <a:t>jako</a:t>
                </a:r>
                <a:r>
                  <a:rPr lang="en-US" sz="900" dirty="0" smtClean="0"/>
                  <a:t> </a:t>
                </a:r>
                <a:r>
                  <a:rPr lang="en-US" sz="900" b="1" dirty="0" smtClean="0"/>
                  <a:t>VESTAS</a:t>
                </a:r>
                <a:r>
                  <a:rPr lang="pl-PL" sz="900" dirty="0" smtClean="0"/>
                  <a:t> – pojazdy rolnicze</a:t>
                </a:r>
                <a:endParaRPr lang="en-GB" sz="900" b="1" dirty="0"/>
              </a:p>
            </p:txBody>
          </p:sp>
          <p:grpSp>
            <p:nvGrpSpPr>
              <p:cNvPr id="4152" name="Group 58"/>
              <p:cNvGrpSpPr>
                <a:grpSpLocks/>
              </p:cNvGrpSpPr>
              <p:nvPr/>
            </p:nvGrpSpPr>
            <p:grpSpPr bwMode="auto">
              <a:xfrm>
                <a:off x="1838" y="806"/>
                <a:ext cx="615" cy="1025"/>
                <a:chOff x="1774" y="838"/>
                <a:chExt cx="615" cy="1025"/>
              </a:xfrm>
            </p:grpSpPr>
            <p:pic>
              <p:nvPicPr>
                <p:cNvPr id="4153" name="Picture 33" descr="His4"/>
                <p:cNvPicPr>
                  <a:picLocks noChangeAspect="1" noChangeArrowheads="1"/>
                </p:cNvPicPr>
                <p:nvPr/>
              </p:nvPicPr>
              <p:blipFill>
                <a:blip r:embed="rId13">
                  <a:extLst>
                    <a:ext uri="{28A0092B-C50C-407E-A947-70E740481C1C}">
                      <a14:useLocalDpi xmlns:a14="http://schemas.microsoft.com/office/drawing/2010/main" val="0"/>
                    </a:ext>
                  </a:extLst>
                </a:blip>
                <a:srcRect l="17336" r="54872"/>
                <a:stretch>
                  <a:fillRect/>
                </a:stretch>
              </p:blipFill>
              <p:spPr bwMode="auto">
                <a:xfrm>
                  <a:off x="1774" y="838"/>
                  <a:ext cx="615" cy="57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54" name="Line 42"/>
                <p:cNvSpPr>
                  <a:spLocks noChangeShapeType="1"/>
                </p:cNvSpPr>
                <p:nvPr/>
              </p:nvSpPr>
              <p:spPr bwMode="auto">
                <a:xfrm flipV="1">
                  <a:off x="2081" y="1423"/>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67" name="Group 79"/>
          <p:cNvGrpSpPr>
            <a:grpSpLocks/>
          </p:cNvGrpSpPr>
          <p:nvPr/>
        </p:nvGrpSpPr>
        <p:grpSpPr bwMode="auto">
          <a:xfrm>
            <a:off x="4940300" y="1284288"/>
            <a:ext cx="1655763" cy="2041525"/>
            <a:chOff x="3112" y="809"/>
            <a:chExt cx="1043" cy="1286"/>
          </a:xfrm>
        </p:grpSpPr>
        <p:pic>
          <p:nvPicPr>
            <p:cNvPr id="4143" name="Picture 4" descr="shadow_new"/>
            <p:cNvPicPr>
              <a:picLocks noChangeAspect="1" noChangeArrowheads="1"/>
            </p:cNvPicPr>
            <p:nvPr>
              <p:custDataLst>
                <p:tags r:id="rId6"/>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3112" y="972"/>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44" name="Group 63"/>
            <p:cNvGrpSpPr>
              <a:grpSpLocks/>
            </p:cNvGrpSpPr>
            <p:nvPr/>
          </p:nvGrpSpPr>
          <p:grpSpPr bwMode="auto">
            <a:xfrm>
              <a:off x="3112" y="809"/>
              <a:ext cx="1015" cy="1286"/>
              <a:chOff x="3052" y="809"/>
              <a:chExt cx="1015" cy="1286"/>
            </a:xfrm>
          </p:grpSpPr>
          <p:sp>
            <p:nvSpPr>
              <p:cNvPr id="4145" name="Text Box 12"/>
              <p:cNvSpPr txBox="1">
                <a:spLocks noChangeArrowheads="1"/>
              </p:cNvSpPr>
              <p:nvPr/>
            </p:nvSpPr>
            <p:spPr bwMode="auto">
              <a:xfrm>
                <a:off x="3052" y="1901"/>
                <a:ext cx="1015" cy="194"/>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r>
                  <a:rPr lang="en-US" sz="1000" b="1" dirty="0"/>
                  <a:t>1979:</a:t>
                </a:r>
                <a:r>
                  <a:rPr lang="en-US" sz="1000" dirty="0"/>
                  <a:t> </a:t>
                </a:r>
              </a:p>
              <a:p>
                <a:pPr algn="ctr" eaLnBrk="1" hangingPunct="1"/>
                <a:r>
                  <a:rPr lang="pl-PL" sz="1000" dirty="0" smtClean="0"/>
                  <a:t>Pierwsza turbina wiatrowa</a:t>
                </a:r>
                <a:endParaRPr lang="da-DK" sz="1000" dirty="0"/>
              </a:p>
            </p:txBody>
          </p:sp>
          <p:grpSp>
            <p:nvGrpSpPr>
              <p:cNvPr id="4146" name="Group 55"/>
              <p:cNvGrpSpPr>
                <a:grpSpLocks/>
              </p:cNvGrpSpPr>
              <p:nvPr/>
            </p:nvGrpSpPr>
            <p:grpSpPr bwMode="auto">
              <a:xfrm>
                <a:off x="3262" y="809"/>
                <a:ext cx="596" cy="1022"/>
                <a:chOff x="3293" y="841"/>
                <a:chExt cx="596" cy="1022"/>
              </a:xfrm>
            </p:grpSpPr>
            <p:pic>
              <p:nvPicPr>
                <p:cNvPr id="4147" name="Picture 34" descr="his12"/>
                <p:cNvPicPr>
                  <a:picLocks noChangeAspect="1" noChangeArrowheads="1"/>
                </p:cNvPicPr>
                <p:nvPr/>
              </p:nvPicPr>
              <p:blipFill>
                <a:blip r:embed="rId14">
                  <a:extLst>
                    <a:ext uri="{28A0092B-C50C-407E-A947-70E740481C1C}">
                      <a14:useLocalDpi xmlns:a14="http://schemas.microsoft.com/office/drawing/2010/main" val="0"/>
                    </a:ext>
                  </a:extLst>
                </a:blip>
                <a:srcRect l="43677" r="28195"/>
                <a:stretch>
                  <a:fillRect/>
                </a:stretch>
              </p:blipFill>
              <p:spPr bwMode="auto">
                <a:xfrm>
                  <a:off x="3293" y="841"/>
                  <a:ext cx="596" cy="58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48" name="Line 43"/>
                <p:cNvSpPr>
                  <a:spLocks noChangeShapeType="1"/>
                </p:cNvSpPr>
                <p:nvPr/>
              </p:nvSpPr>
              <p:spPr bwMode="auto">
                <a:xfrm flipV="1">
                  <a:off x="3591" y="1423"/>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68" name="Group 80"/>
          <p:cNvGrpSpPr>
            <a:grpSpLocks/>
          </p:cNvGrpSpPr>
          <p:nvPr/>
        </p:nvGrpSpPr>
        <p:grpSpPr bwMode="auto">
          <a:xfrm>
            <a:off x="7362825" y="1268413"/>
            <a:ext cx="1655763" cy="2206625"/>
            <a:chOff x="4638" y="799"/>
            <a:chExt cx="1043" cy="1390"/>
          </a:xfrm>
        </p:grpSpPr>
        <p:pic>
          <p:nvPicPr>
            <p:cNvPr id="4137" name="Picture 4" descr="shadow_new"/>
            <p:cNvPicPr>
              <a:picLocks noChangeAspect="1" noChangeArrowheads="1"/>
            </p:cNvPicPr>
            <p:nvPr>
              <p:custDataLst>
                <p:tags r:id="rId5"/>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4638" y="1026"/>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38" name="Group 64"/>
            <p:cNvGrpSpPr>
              <a:grpSpLocks/>
            </p:cNvGrpSpPr>
            <p:nvPr/>
          </p:nvGrpSpPr>
          <p:grpSpPr bwMode="auto">
            <a:xfrm>
              <a:off x="4694" y="799"/>
              <a:ext cx="907" cy="1390"/>
              <a:chOff x="4694" y="799"/>
              <a:chExt cx="907" cy="1390"/>
            </a:xfrm>
          </p:grpSpPr>
          <p:sp>
            <p:nvSpPr>
              <p:cNvPr id="4139" name="Text Box 15"/>
              <p:cNvSpPr txBox="1">
                <a:spLocks noChangeArrowheads="1"/>
              </p:cNvSpPr>
              <p:nvPr/>
            </p:nvSpPr>
            <p:spPr bwMode="auto">
              <a:xfrm>
                <a:off x="4694" y="1901"/>
                <a:ext cx="907" cy="28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en-US" sz="1000" b="1"/>
                  <a:t>1987:</a:t>
                </a:r>
                <a:r>
                  <a:rPr lang="en-US" sz="1000"/>
                  <a:t> </a:t>
                </a:r>
                <a:br>
                  <a:rPr lang="en-US" sz="1000"/>
                </a:br>
                <a:r>
                  <a:rPr lang="en-US" sz="1000"/>
                  <a:t>Vestas </a:t>
                </a:r>
                <a:br>
                  <a:rPr lang="en-US" sz="1000"/>
                </a:br>
                <a:r>
                  <a:rPr lang="en-US" sz="1000"/>
                  <a:t>Wind Systems A/S</a:t>
                </a:r>
                <a:endParaRPr lang="en-GB" sz="1000"/>
              </a:p>
            </p:txBody>
          </p:sp>
          <p:grpSp>
            <p:nvGrpSpPr>
              <p:cNvPr id="4140" name="Group 54"/>
              <p:cNvGrpSpPr>
                <a:grpSpLocks/>
              </p:cNvGrpSpPr>
              <p:nvPr/>
            </p:nvGrpSpPr>
            <p:grpSpPr bwMode="auto">
              <a:xfrm>
                <a:off x="4852" y="799"/>
                <a:ext cx="592" cy="1032"/>
                <a:chOff x="4896" y="831"/>
                <a:chExt cx="592" cy="1032"/>
              </a:xfrm>
            </p:grpSpPr>
            <p:pic>
              <p:nvPicPr>
                <p:cNvPr id="4141" name="Picture 35" descr="198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96" y="831"/>
                  <a:ext cx="592" cy="59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42" name="Line 44"/>
                <p:cNvSpPr>
                  <a:spLocks noChangeShapeType="1"/>
                </p:cNvSpPr>
                <p:nvPr/>
              </p:nvSpPr>
              <p:spPr bwMode="auto">
                <a:xfrm flipV="1">
                  <a:off x="5192" y="1423"/>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69" name="Group 81"/>
          <p:cNvGrpSpPr>
            <a:grpSpLocks/>
          </p:cNvGrpSpPr>
          <p:nvPr/>
        </p:nvGrpSpPr>
        <p:grpSpPr bwMode="auto">
          <a:xfrm>
            <a:off x="341313" y="3911600"/>
            <a:ext cx="1655762" cy="2393950"/>
            <a:chOff x="215" y="2464"/>
            <a:chExt cx="1043" cy="1508"/>
          </a:xfrm>
        </p:grpSpPr>
        <p:pic>
          <p:nvPicPr>
            <p:cNvPr id="4131" name="Picture 4" descr="shadow_new"/>
            <p:cNvPicPr>
              <a:picLocks noChangeAspect="1" noChangeArrowheads="1"/>
            </p:cNvPicPr>
            <p:nvPr>
              <p:custDataLst>
                <p:tags r:id="rId4"/>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215" y="3464"/>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32" name="Group 65"/>
            <p:cNvGrpSpPr>
              <a:grpSpLocks/>
            </p:cNvGrpSpPr>
            <p:nvPr/>
          </p:nvGrpSpPr>
          <p:grpSpPr bwMode="auto">
            <a:xfrm>
              <a:off x="380" y="2464"/>
              <a:ext cx="658" cy="1356"/>
              <a:chOff x="380" y="2464"/>
              <a:chExt cx="658" cy="1356"/>
            </a:xfrm>
          </p:grpSpPr>
          <p:sp>
            <p:nvSpPr>
              <p:cNvPr id="4133" name="Text Box 18"/>
              <p:cNvSpPr txBox="1">
                <a:spLocks noChangeArrowheads="1"/>
              </p:cNvSpPr>
              <p:nvPr/>
            </p:nvSpPr>
            <p:spPr bwMode="auto">
              <a:xfrm>
                <a:off x="380" y="2464"/>
                <a:ext cx="658" cy="291"/>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en-US" sz="1000" b="1" dirty="0" smtClean="0"/>
                  <a:t>1991</a:t>
                </a:r>
                <a:r>
                  <a:rPr lang="en-US" sz="1000" b="1" dirty="0"/>
                  <a:t>:</a:t>
                </a:r>
                <a:br>
                  <a:rPr lang="en-US" sz="1000" b="1" dirty="0"/>
                </a:br>
                <a:r>
                  <a:rPr lang="en-US" sz="1000" dirty="0" smtClean="0"/>
                  <a:t>1,000</a:t>
                </a:r>
                <a:r>
                  <a:rPr lang="pl-PL" sz="1000" dirty="0" smtClean="0"/>
                  <a:t> turbina wiatrowa</a:t>
                </a:r>
                <a:endParaRPr lang="en-GB" sz="1000" dirty="0"/>
              </a:p>
            </p:txBody>
          </p:sp>
          <p:grpSp>
            <p:nvGrpSpPr>
              <p:cNvPr id="4134" name="Group 51"/>
              <p:cNvGrpSpPr>
                <a:grpSpLocks/>
              </p:cNvGrpSpPr>
              <p:nvPr/>
            </p:nvGrpSpPr>
            <p:grpSpPr bwMode="auto">
              <a:xfrm>
                <a:off x="411" y="2808"/>
                <a:ext cx="596" cy="1012"/>
                <a:chOff x="385" y="2840"/>
                <a:chExt cx="596" cy="1012"/>
              </a:xfrm>
            </p:grpSpPr>
            <p:pic>
              <p:nvPicPr>
                <p:cNvPr id="4135" name="Picture 30" descr="his14"/>
                <p:cNvPicPr>
                  <a:picLocks noChangeAspect="1" noChangeArrowheads="1"/>
                </p:cNvPicPr>
                <p:nvPr/>
              </p:nvPicPr>
              <p:blipFill>
                <a:blip r:embed="rId16">
                  <a:extLst>
                    <a:ext uri="{28A0092B-C50C-407E-A947-70E740481C1C}">
                      <a14:useLocalDpi xmlns:a14="http://schemas.microsoft.com/office/drawing/2010/main" val="0"/>
                    </a:ext>
                  </a:extLst>
                </a:blip>
                <a:srcRect t="26041" r="70113"/>
                <a:stretch>
                  <a:fillRect/>
                </a:stretch>
              </p:blipFill>
              <p:spPr bwMode="auto">
                <a:xfrm>
                  <a:off x="385" y="3274"/>
                  <a:ext cx="596" cy="57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36" name="Line 45"/>
                <p:cNvSpPr>
                  <a:spLocks noChangeShapeType="1"/>
                </p:cNvSpPr>
                <p:nvPr/>
              </p:nvSpPr>
              <p:spPr bwMode="auto">
                <a:xfrm flipV="1">
                  <a:off x="683" y="2840"/>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70" name="Group 82"/>
          <p:cNvGrpSpPr>
            <a:grpSpLocks/>
          </p:cNvGrpSpPr>
          <p:nvPr/>
        </p:nvGrpSpPr>
        <p:grpSpPr bwMode="auto">
          <a:xfrm>
            <a:off x="2646363" y="3911600"/>
            <a:ext cx="1655762" cy="2397125"/>
            <a:chOff x="1667" y="2464"/>
            <a:chExt cx="1043" cy="1510"/>
          </a:xfrm>
        </p:grpSpPr>
        <p:pic>
          <p:nvPicPr>
            <p:cNvPr id="4125" name="Picture 4" descr="shadow_new"/>
            <p:cNvPicPr>
              <a:picLocks noChangeAspect="1" noChangeArrowheads="1"/>
            </p:cNvPicPr>
            <p:nvPr>
              <p:custDataLst>
                <p:tags r:id="rId3"/>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1667" y="3466"/>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26" name="Group 66"/>
            <p:cNvGrpSpPr>
              <a:grpSpLocks/>
            </p:cNvGrpSpPr>
            <p:nvPr/>
          </p:nvGrpSpPr>
          <p:grpSpPr bwMode="auto">
            <a:xfrm>
              <a:off x="1816" y="2464"/>
              <a:ext cx="658" cy="1356"/>
              <a:chOff x="1816" y="2464"/>
              <a:chExt cx="658" cy="1356"/>
            </a:xfrm>
          </p:grpSpPr>
          <p:sp>
            <p:nvSpPr>
              <p:cNvPr id="4127" name="Text Box 21"/>
              <p:cNvSpPr txBox="1">
                <a:spLocks noChangeArrowheads="1"/>
              </p:cNvSpPr>
              <p:nvPr/>
            </p:nvSpPr>
            <p:spPr bwMode="auto">
              <a:xfrm>
                <a:off x="1816" y="2464"/>
                <a:ext cx="658" cy="28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en-US" sz="1000" b="1" dirty="0"/>
                  <a:t>2004:</a:t>
                </a:r>
                <a:r>
                  <a:rPr lang="en-US" sz="1000" dirty="0"/>
                  <a:t> </a:t>
                </a:r>
                <a:br>
                  <a:rPr lang="en-US" sz="1000" dirty="0"/>
                </a:br>
                <a:r>
                  <a:rPr lang="pl-PL" sz="1000" dirty="0" smtClean="0"/>
                  <a:t>Połączenie</a:t>
                </a:r>
                <a:r>
                  <a:rPr lang="en-US" sz="1000" dirty="0" smtClean="0"/>
                  <a:t>: </a:t>
                </a:r>
                <a:r>
                  <a:rPr lang="en-US" sz="1000" dirty="0"/>
                  <a:t>NEG </a:t>
                </a:r>
                <a:r>
                  <a:rPr lang="en-US" sz="1000" dirty="0" err="1"/>
                  <a:t>Micon</a:t>
                </a:r>
                <a:r>
                  <a:rPr lang="en-US" sz="1000" dirty="0"/>
                  <a:t> &amp; </a:t>
                </a:r>
                <a:r>
                  <a:rPr lang="en-US" sz="1000" dirty="0" err="1"/>
                  <a:t>Vestas</a:t>
                </a:r>
                <a:endParaRPr lang="en-GB" sz="1000" dirty="0"/>
              </a:p>
            </p:txBody>
          </p:sp>
          <p:grpSp>
            <p:nvGrpSpPr>
              <p:cNvPr id="4128" name="Group 49"/>
              <p:cNvGrpSpPr>
                <a:grpSpLocks/>
              </p:cNvGrpSpPr>
              <p:nvPr/>
            </p:nvGrpSpPr>
            <p:grpSpPr bwMode="auto">
              <a:xfrm>
                <a:off x="1847" y="2808"/>
                <a:ext cx="596" cy="1012"/>
                <a:chOff x="1774" y="2840"/>
                <a:chExt cx="596" cy="1012"/>
              </a:xfrm>
            </p:grpSpPr>
            <p:pic>
              <p:nvPicPr>
                <p:cNvPr id="4129" name="Picture 31" descr="his15"/>
                <p:cNvPicPr>
                  <a:picLocks noChangeAspect="1" noChangeArrowheads="1"/>
                </p:cNvPicPr>
                <p:nvPr/>
              </p:nvPicPr>
              <p:blipFill>
                <a:blip r:embed="rId17">
                  <a:extLst>
                    <a:ext uri="{28A0092B-C50C-407E-A947-70E740481C1C}">
                      <a14:useLocalDpi xmlns:a14="http://schemas.microsoft.com/office/drawing/2010/main" val="0"/>
                    </a:ext>
                  </a:extLst>
                </a:blip>
                <a:srcRect l="1880" t="3564" r="71698"/>
                <a:stretch>
                  <a:fillRect/>
                </a:stretch>
              </p:blipFill>
              <p:spPr bwMode="auto">
                <a:xfrm>
                  <a:off x="1774" y="3274"/>
                  <a:ext cx="596" cy="57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30" name="Line 46"/>
                <p:cNvSpPr>
                  <a:spLocks noChangeShapeType="1"/>
                </p:cNvSpPr>
                <p:nvPr/>
              </p:nvSpPr>
              <p:spPr bwMode="auto">
                <a:xfrm flipV="1">
                  <a:off x="2072" y="2840"/>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71" name="Group 83"/>
          <p:cNvGrpSpPr>
            <a:grpSpLocks/>
          </p:cNvGrpSpPr>
          <p:nvPr/>
        </p:nvGrpSpPr>
        <p:grpSpPr bwMode="auto">
          <a:xfrm>
            <a:off x="4986338" y="3911600"/>
            <a:ext cx="1655762" cy="2397125"/>
            <a:chOff x="3141" y="2464"/>
            <a:chExt cx="1043" cy="1510"/>
          </a:xfrm>
        </p:grpSpPr>
        <p:pic>
          <p:nvPicPr>
            <p:cNvPr id="4119" name="Picture 4" descr="shadow_new"/>
            <p:cNvPicPr>
              <a:picLocks noChangeAspect="1" noChangeArrowheads="1"/>
            </p:cNvPicPr>
            <p:nvPr>
              <p:custDataLst>
                <p:tags r:id="rId2"/>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3141" y="3466"/>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20" name="Group 67"/>
            <p:cNvGrpSpPr>
              <a:grpSpLocks/>
            </p:cNvGrpSpPr>
            <p:nvPr/>
          </p:nvGrpSpPr>
          <p:grpSpPr bwMode="auto">
            <a:xfrm>
              <a:off x="3291" y="2464"/>
              <a:ext cx="658" cy="1356"/>
              <a:chOff x="3231" y="2464"/>
              <a:chExt cx="658" cy="1356"/>
            </a:xfrm>
          </p:grpSpPr>
          <p:sp>
            <p:nvSpPr>
              <p:cNvPr id="4121" name="Text Box 24"/>
              <p:cNvSpPr txBox="1">
                <a:spLocks noChangeArrowheads="1"/>
              </p:cNvSpPr>
              <p:nvPr/>
            </p:nvSpPr>
            <p:spPr bwMode="auto">
              <a:xfrm>
                <a:off x="3231" y="2464"/>
                <a:ext cx="658" cy="28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en-US" sz="1000" b="1"/>
                  <a:t/>
                </a:r>
                <a:br>
                  <a:rPr lang="en-US" sz="1000" b="1"/>
                </a:br>
                <a:r>
                  <a:rPr lang="en-US" sz="1000" b="1"/>
                  <a:t>2005:</a:t>
                </a:r>
                <a:r>
                  <a:rPr lang="en-US" sz="1000"/>
                  <a:t> </a:t>
                </a:r>
                <a:br>
                  <a:rPr lang="en-US" sz="1000"/>
                </a:br>
                <a:r>
                  <a:rPr lang="en-US" sz="1000"/>
                  <a:t>Ditlev Engel, CEO</a:t>
                </a:r>
                <a:endParaRPr lang="en-GB" sz="1000"/>
              </a:p>
            </p:txBody>
          </p:sp>
          <p:grpSp>
            <p:nvGrpSpPr>
              <p:cNvPr id="4122" name="Group 50"/>
              <p:cNvGrpSpPr>
                <a:grpSpLocks/>
              </p:cNvGrpSpPr>
              <p:nvPr/>
            </p:nvGrpSpPr>
            <p:grpSpPr bwMode="auto">
              <a:xfrm>
                <a:off x="3262" y="2808"/>
                <a:ext cx="596" cy="1012"/>
                <a:chOff x="3277" y="2840"/>
                <a:chExt cx="596" cy="1012"/>
              </a:xfrm>
            </p:grpSpPr>
            <p:pic>
              <p:nvPicPr>
                <p:cNvPr id="4123" name="Picture 28" descr="655614_fpo"/>
                <p:cNvPicPr>
                  <a:picLocks noChangeAspect="1" noChangeArrowheads="1"/>
                </p:cNvPicPr>
                <p:nvPr/>
              </p:nvPicPr>
              <p:blipFill>
                <a:blip r:embed="rId18">
                  <a:extLst>
                    <a:ext uri="{28A0092B-C50C-407E-A947-70E740481C1C}">
                      <a14:useLocalDpi xmlns:a14="http://schemas.microsoft.com/office/drawing/2010/main" val="0"/>
                    </a:ext>
                  </a:extLst>
                </a:blip>
                <a:srcRect l="58388" t="23663" r="12770" b="34839"/>
                <a:stretch>
                  <a:fillRect/>
                </a:stretch>
              </p:blipFill>
              <p:spPr bwMode="auto">
                <a:xfrm>
                  <a:off x="3277" y="3280"/>
                  <a:ext cx="596" cy="57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24" name="Line 47"/>
                <p:cNvSpPr>
                  <a:spLocks noChangeShapeType="1"/>
                </p:cNvSpPr>
                <p:nvPr/>
              </p:nvSpPr>
              <p:spPr bwMode="auto">
                <a:xfrm flipV="1">
                  <a:off x="3575" y="2840"/>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grpSp>
        <p:nvGrpSpPr>
          <p:cNvPr id="447572" name="Group 84"/>
          <p:cNvGrpSpPr>
            <a:grpSpLocks/>
          </p:cNvGrpSpPr>
          <p:nvPr/>
        </p:nvGrpSpPr>
        <p:grpSpPr bwMode="auto">
          <a:xfrm>
            <a:off x="7416800" y="3911600"/>
            <a:ext cx="1655763" cy="2397125"/>
            <a:chOff x="4672" y="2464"/>
            <a:chExt cx="1043" cy="1510"/>
          </a:xfrm>
        </p:grpSpPr>
        <p:pic>
          <p:nvPicPr>
            <p:cNvPr id="4113" name="Picture 4" descr="shadow_new"/>
            <p:cNvPicPr>
              <a:picLocks noChangeAspect="1" noChangeArrowheads="1"/>
            </p:cNvPicPr>
            <p:nvPr>
              <p:custDataLst>
                <p:tags r:id="rId1"/>
              </p:custDataLst>
            </p:nvPr>
          </p:nvPicPr>
          <p:blipFill>
            <a:blip r:embed="rId11">
              <a:lum bright="-18000"/>
              <a:extLst>
                <a:ext uri="{28A0092B-C50C-407E-A947-70E740481C1C}">
                  <a14:useLocalDpi xmlns:a14="http://schemas.microsoft.com/office/drawing/2010/main" val="0"/>
                </a:ext>
              </a:extLst>
            </a:blip>
            <a:srcRect/>
            <a:stretch>
              <a:fillRect/>
            </a:stretch>
          </p:blipFill>
          <p:spPr bwMode="auto">
            <a:xfrm>
              <a:off x="4672" y="3466"/>
              <a:ext cx="1043"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14" name="Group 68"/>
            <p:cNvGrpSpPr>
              <a:grpSpLocks/>
            </p:cNvGrpSpPr>
            <p:nvPr/>
          </p:nvGrpSpPr>
          <p:grpSpPr bwMode="auto">
            <a:xfrm>
              <a:off x="4819" y="2464"/>
              <a:ext cx="658" cy="1347"/>
              <a:chOff x="4819" y="2464"/>
              <a:chExt cx="658" cy="1347"/>
            </a:xfrm>
          </p:grpSpPr>
          <p:sp>
            <p:nvSpPr>
              <p:cNvPr id="4115" name="Text Box 27"/>
              <p:cNvSpPr txBox="1">
                <a:spLocks noChangeArrowheads="1"/>
              </p:cNvSpPr>
              <p:nvPr/>
            </p:nvSpPr>
            <p:spPr bwMode="auto">
              <a:xfrm>
                <a:off x="4819" y="2464"/>
                <a:ext cx="658" cy="288"/>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da-DK" sz="1000" b="1"/>
                  <a:t>2010:</a:t>
                </a:r>
                <a:r>
                  <a:rPr lang="da-DK" sz="1000"/>
                  <a:t> </a:t>
                </a:r>
                <a:br>
                  <a:rPr lang="da-DK" sz="1000"/>
                </a:br>
                <a:r>
                  <a:rPr lang="da-DK" sz="1000" b="1"/>
                  <a:t>Wind.</a:t>
                </a:r>
                <a:r>
                  <a:rPr lang="da-DK" sz="1000"/>
                  <a:t> It means the world to us.</a:t>
                </a:r>
                <a:endParaRPr lang="en-GB" sz="1000"/>
              </a:p>
            </p:txBody>
          </p:sp>
          <p:grpSp>
            <p:nvGrpSpPr>
              <p:cNvPr id="4116" name="Group 53"/>
              <p:cNvGrpSpPr>
                <a:grpSpLocks/>
              </p:cNvGrpSpPr>
              <p:nvPr/>
            </p:nvGrpSpPr>
            <p:grpSpPr bwMode="auto">
              <a:xfrm>
                <a:off x="4856" y="2808"/>
                <a:ext cx="583" cy="1003"/>
                <a:chOff x="4876" y="2840"/>
                <a:chExt cx="583" cy="1003"/>
              </a:xfrm>
            </p:grpSpPr>
            <p:pic>
              <p:nvPicPr>
                <p:cNvPr id="4117" name="Picture 29" descr="654659_fpo"/>
                <p:cNvPicPr>
                  <a:picLocks noChangeAspect="1" noChangeArrowheads="1"/>
                </p:cNvPicPr>
                <p:nvPr/>
              </p:nvPicPr>
              <p:blipFill>
                <a:blip r:embed="rId19">
                  <a:extLst>
                    <a:ext uri="{28A0092B-C50C-407E-A947-70E740481C1C}">
                      <a14:useLocalDpi xmlns:a14="http://schemas.microsoft.com/office/drawing/2010/main" val="0"/>
                    </a:ext>
                  </a:extLst>
                </a:blip>
                <a:srcRect l="28725" t="10901" r="39420" b="50104"/>
                <a:stretch>
                  <a:fillRect/>
                </a:stretch>
              </p:blipFill>
              <p:spPr bwMode="auto">
                <a:xfrm>
                  <a:off x="4876" y="3274"/>
                  <a:ext cx="583" cy="56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118" name="Line 48"/>
                <p:cNvSpPr>
                  <a:spLocks noChangeShapeType="1"/>
                </p:cNvSpPr>
                <p:nvPr/>
              </p:nvSpPr>
              <p:spPr bwMode="auto">
                <a:xfrm flipV="1">
                  <a:off x="5168" y="2840"/>
                  <a:ext cx="0" cy="44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grpSp>
      </p:grpSp>
      <p:sp>
        <p:nvSpPr>
          <p:cNvPr id="4112" name="Line 86"/>
          <p:cNvSpPr>
            <a:spLocks noChangeShapeType="1"/>
          </p:cNvSpPr>
          <p:nvPr/>
        </p:nvSpPr>
        <p:spPr bwMode="auto">
          <a:xfrm>
            <a:off x="215900" y="6237288"/>
            <a:ext cx="8712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Tree>
    <p:extLst>
      <p:ext uri="{BB962C8B-B14F-4D97-AF65-F5344CB8AC3E}">
        <p14:creationId xmlns:p14="http://schemas.microsoft.com/office/powerpoint/2010/main" val="22629650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E0F810C8-F53B-420E-989F-370E45EA1AA9}" type="slidenum">
              <a:rPr lang="en-GB" sz="900" smtClean="0"/>
              <a:pPr eaLnBrk="1" hangingPunct="1"/>
              <a:t>4</a:t>
            </a:fld>
            <a:endParaRPr lang="en-GB" sz="900" smtClean="0"/>
          </a:p>
        </p:txBody>
      </p:sp>
      <p:pic>
        <p:nvPicPr>
          <p:cNvPr id="5123" name="Picture 2227" descr="Vestas world ma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39900" y="2584450"/>
            <a:ext cx="5802313" cy="351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8"/>
          <p:cNvSpPr>
            <a:spLocks noGrp="1" noChangeArrowheads="1"/>
          </p:cNvSpPr>
          <p:nvPr>
            <p:ph type="title"/>
          </p:nvPr>
        </p:nvSpPr>
        <p:spPr>
          <a:xfrm>
            <a:off x="215900" y="244475"/>
            <a:ext cx="8712200" cy="808038"/>
          </a:xfrm>
          <a:noFill/>
        </p:spPr>
        <p:txBody>
          <a:bodyPr/>
          <a:lstStyle/>
          <a:p>
            <a:pPr eaLnBrk="1" hangingPunct="1"/>
            <a:r>
              <a:rPr lang="en-GB" sz="2800" b="1" dirty="0" err="1" smtClean="0"/>
              <a:t>Vestas</a:t>
            </a:r>
            <a:r>
              <a:rPr lang="en-GB" sz="2800" b="1" dirty="0" smtClean="0"/>
              <a:t> </a:t>
            </a:r>
            <a:r>
              <a:rPr lang="en-GB" dirty="0" smtClean="0"/>
              <a:t/>
            </a:r>
            <a:br>
              <a:rPr lang="en-GB" dirty="0" smtClean="0"/>
            </a:br>
            <a:endParaRPr lang="en-GB" sz="1600" dirty="0" smtClean="0">
              <a:solidFill>
                <a:schemeClr val="hlink"/>
              </a:solidFill>
            </a:endParaRPr>
          </a:p>
        </p:txBody>
      </p:sp>
      <p:sp>
        <p:nvSpPr>
          <p:cNvPr id="5125" name="Text Box 9"/>
          <p:cNvSpPr txBox="1">
            <a:spLocks noChangeArrowheads="1"/>
          </p:cNvSpPr>
          <p:nvPr/>
        </p:nvSpPr>
        <p:spPr bwMode="auto">
          <a:xfrm>
            <a:off x="431800" y="1177925"/>
            <a:ext cx="8370888" cy="2339102"/>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marL="285750" indent="-285750">
              <a:buFont typeface="Arial" pitchFamily="34" charset="0"/>
              <a:buChar char="•"/>
            </a:pPr>
            <a:r>
              <a:rPr lang="pl-PL" dirty="0" smtClean="0"/>
              <a:t>Producent urządzeń energetyki wiatrowej</a:t>
            </a:r>
          </a:p>
          <a:p>
            <a:pPr marL="285750" indent="-285750">
              <a:buFont typeface="Arial" pitchFamily="34" charset="0"/>
              <a:buChar char="•"/>
            </a:pPr>
            <a:r>
              <a:rPr lang="pl-PL" dirty="0" smtClean="0"/>
              <a:t>50 GW mocy zainstalowanej na świecie</a:t>
            </a:r>
          </a:p>
          <a:p>
            <a:pPr marL="285750" indent="-285750">
              <a:buFont typeface="Arial" pitchFamily="34" charset="0"/>
              <a:buChar char="•"/>
            </a:pPr>
            <a:r>
              <a:rPr lang="pl-PL" dirty="0" smtClean="0"/>
              <a:t>30 000 turbin monitorowane 24/7</a:t>
            </a:r>
          </a:p>
          <a:p>
            <a:pPr marL="285750" indent="-285750">
              <a:buFont typeface="Arial" pitchFamily="34" charset="0"/>
              <a:buChar char="•"/>
            </a:pPr>
            <a:r>
              <a:rPr lang="pl-PL" dirty="0" smtClean="0"/>
              <a:t>Prace badawczo rozwojowe nad nowymi produktami</a:t>
            </a:r>
          </a:p>
          <a:p>
            <a:pPr marL="465750" lvl="1">
              <a:buFont typeface="Arial" pitchFamily="34" charset="0"/>
              <a:buChar char="•"/>
            </a:pPr>
            <a:r>
              <a:rPr lang="pl-PL" dirty="0" smtClean="0"/>
              <a:t>V112-3.0 MW </a:t>
            </a:r>
            <a:r>
              <a:rPr lang="pl-PL" dirty="0" err="1" smtClean="0"/>
              <a:t>onshore</a:t>
            </a:r>
            <a:endParaRPr lang="pl-PL" dirty="0" smtClean="0"/>
          </a:p>
          <a:p>
            <a:pPr marL="465750" lvl="1">
              <a:buFont typeface="Arial" pitchFamily="34" charset="0"/>
              <a:buChar char="•"/>
            </a:pPr>
            <a:r>
              <a:rPr lang="pl-PL" dirty="0" smtClean="0"/>
              <a:t>V126-3.0 MW </a:t>
            </a:r>
            <a:r>
              <a:rPr lang="pl-PL" dirty="0" err="1" smtClean="0"/>
              <a:t>onshore</a:t>
            </a:r>
            <a:r>
              <a:rPr lang="pl-PL" dirty="0" smtClean="0"/>
              <a:t> </a:t>
            </a:r>
          </a:p>
          <a:p>
            <a:pPr marL="465750" lvl="1">
              <a:buFont typeface="Arial" pitchFamily="34" charset="0"/>
              <a:buChar char="•"/>
            </a:pPr>
            <a:r>
              <a:rPr lang="pl-PL" dirty="0" smtClean="0"/>
              <a:t>V164-8.0 MW </a:t>
            </a:r>
            <a:r>
              <a:rPr lang="pl-PL" dirty="0" err="1" smtClean="0"/>
              <a:t>offshore</a:t>
            </a:r>
            <a:r>
              <a:rPr lang="pl-PL" dirty="0" smtClean="0"/>
              <a:t> </a:t>
            </a:r>
          </a:p>
          <a:p>
            <a:pPr marL="465750" lvl="1">
              <a:buFont typeface="Arial" pitchFamily="34" charset="0"/>
              <a:buChar char="•"/>
            </a:pPr>
            <a:r>
              <a:rPr lang="pl-PL" dirty="0" smtClean="0"/>
              <a:t>80 metrowe łopaty wirnika prototyp V164-8.0 MW</a:t>
            </a:r>
          </a:p>
          <a:p>
            <a:pPr eaLnBrk="1" hangingPunct="1">
              <a:spcBef>
                <a:spcPct val="50000"/>
              </a:spcBef>
            </a:pPr>
            <a:endParaRPr lang="en-US" dirty="0"/>
          </a:p>
        </p:txBody>
      </p:sp>
      <p:sp>
        <p:nvSpPr>
          <p:cNvPr id="5126" name="Line 12"/>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grpSp>
        <p:nvGrpSpPr>
          <p:cNvPr id="449714" name="Group 2226"/>
          <p:cNvGrpSpPr>
            <a:grpSpLocks/>
          </p:cNvGrpSpPr>
          <p:nvPr/>
        </p:nvGrpSpPr>
        <p:grpSpPr bwMode="auto">
          <a:xfrm>
            <a:off x="2501900" y="4124325"/>
            <a:ext cx="654050" cy="565150"/>
            <a:chOff x="2061" y="1876"/>
            <a:chExt cx="412" cy="356"/>
          </a:xfrm>
        </p:grpSpPr>
        <p:grpSp>
          <p:nvGrpSpPr>
            <p:cNvPr id="5670" name="Group 14"/>
            <p:cNvGrpSpPr>
              <a:grpSpLocks/>
            </p:cNvGrpSpPr>
            <p:nvPr/>
          </p:nvGrpSpPr>
          <p:grpSpPr bwMode="auto">
            <a:xfrm>
              <a:off x="2275" y="2103"/>
              <a:ext cx="81" cy="129"/>
              <a:chOff x="826" y="3127"/>
              <a:chExt cx="117" cy="186"/>
            </a:xfrm>
          </p:grpSpPr>
          <p:sp>
            <p:nvSpPr>
              <p:cNvPr id="5689" name="Freeform 1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90" name="Freeform 1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91" name="Freeform 1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92" name="Freeform 1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93" name="Freeform 1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71" name="Group 20"/>
            <p:cNvGrpSpPr>
              <a:grpSpLocks/>
            </p:cNvGrpSpPr>
            <p:nvPr/>
          </p:nvGrpSpPr>
          <p:grpSpPr bwMode="auto">
            <a:xfrm>
              <a:off x="2061" y="1876"/>
              <a:ext cx="81" cy="129"/>
              <a:chOff x="826" y="3127"/>
              <a:chExt cx="117" cy="186"/>
            </a:xfrm>
          </p:grpSpPr>
          <p:sp>
            <p:nvSpPr>
              <p:cNvPr id="5684" name="Freeform 2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5" name="Freeform 2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6" name="Freeform 2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7" name="Freeform 2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8" name="Freeform 2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72" name="Group 26"/>
            <p:cNvGrpSpPr>
              <a:grpSpLocks/>
            </p:cNvGrpSpPr>
            <p:nvPr/>
          </p:nvGrpSpPr>
          <p:grpSpPr bwMode="auto">
            <a:xfrm>
              <a:off x="2158" y="1990"/>
              <a:ext cx="81" cy="129"/>
              <a:chOff x="826" y="3127"/>
              <a:chExt cx="117" cy="186"/>
            </a:xfrm>
          </p:grpSpPr>
          <p:sp>
            <p:nvSpPr>
              <p:cNvPr id="5679" name="Freeform 2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0" name="Freeform 2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1" name="Freeform 2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2" name="Freeform 3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83" name="Freeform 3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73" name="Group 32"/>
            <p:cNvGrpSpPr>
              <a:grpSpLocks/>
            </p:cNvGrpSpPr>
            <p:nvPr/>
          </p:nvGrpSpPr>
          <p:grpSpPr bwMode="auto">
            <a:xfrm>
              <a:off x="2392" y="2103"/>
              <a:ext cx="81" cy="129"/>
              <a:chOff x="826" y="3127"/>
              <a:chExt cx="117" cy="186"/>
            </a:xfrm>
          </p:grpSpPr>
          <p:sp>
            <p:nvSpPr>
              <p:cNvPr id="5674" name="Freeform 33"/>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75" name="Freeform 34"/>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76" name="Freeform 35"/>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77" name="Freeform 36"/>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78" name="Freeform 37"/>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13" name="Group 2225"/>
          <p:cNvGrpSpPr>
            <a:grpSpLocks/>
          </p:cNvGrpSpPr>
          <p:nvPr/>
        </p:nvGrpSpPr>
        <p:grpSpPr bwMode="auto">
          <a:xfrm>
            <a:off x="4162425" y="3894138"/>
            <a:ext cx="500063" cy="384175"/>
            <a:chOff x="782" y="2706"/>
            <a:chExt cx="315" cy="242"/>
          </a:xfrm>
        </p:grpSpPr>
        <p:grpSp>
          <p:nvGrpSpPr>
            <p:cNvPr id="5652" name="Group 2207"/>
            <p:cNvGrpSpPr>
              <a:grpSpLocks/>
            </p:cNvGrpSpPr>
            <p:nvPr/>
          </p:nvGrpSpPr>
          <p:grpSpPr bwMode="auto">
            <a:xfrm>
              <a:off x="899" y="2819"/>
              <a:ext cx="81" cy="129"/>
              <a:chOff x="826" y="3127"/>
              <a:chExt cx="117" cy="186"/>
            </a:xfrm>
          </p:grpSpPr>
          <p:sp>
            <p:nvSpPr>
              <p:cNvPr id="5665" name="Freeform 2208"/>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6" name="Freeform 2209"/>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7" name="Freeform 2210"/>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8" name="Freeform 2211"/>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9" name="Freeform 2212"/>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53" name="Group 2213"/>
            <p:cNvGrpSpPr>
              <a:grpSpLocks/>
            </p:cNvGrpSpPr>
            <p:nvPr/>
          </p:nvGrpSpPr>
          <p:grpSpPr bwMode="auto">
            <a:xfrm>
              <a:off x="782" y="2706"/>
              <a:ext cx="81" cy="129"/>
              <a:chOff x="826" y="3127"/>
              <a:chExt cx="117" cy="186"/>
            </a:xfrm>
          </p:grpSpPr>
          <p:sp>
            <p:nvSpPr>
              <p:cNvPr id="5660" name="Freeform 221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1" name="Freeform 221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2" name="Freeform 221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3" name="Freeform 221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64" name="Freeform 221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54" name="Group 2219"/>
            <p:cNvGrpSpPr>
              <a:grpSpLocks/>
            </p:cNvGrpSpPr>
            <p:nvPr/>
          </p:nvGrpSpPr>
          <p:grpSpPr bwMode="auto">
            <a:xfrm>
              <a:off x="1016" y="2819"/>
              <a:ext cx="81" cy="129"/>
              <a:chOff x="826" y="3127"/>
              <a:chExt cx="117" cy="186"/>
            </a:xfrm>
          </p:grpSpPr>
          <p:sp>
            <p:nvSpPr>
              <p:cNvPr id="5655" name="Freeform 222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56" name="Freeform 222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57" name="Freeform 222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58" name="Freeform 222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59" name="Freeform 222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17" name="Group 2229"/>
          <p:cNvGrpSpPr>
            <a:grpSpLocks/>
          </p:cNvGrpSpPr>
          <p:nvPr/>
        </p:nvGrpSpPr>
        <p:grpSpPr bwMode="auto">
          <a:xfrm>
            <a:off x="2681288" y="4143375"/>
            <a:ext cx="314325" cy="249238"/>
            <a:chOff x="503" y="3300"/>
            <a:chExt cx="198" cy="157"/>
          </a:xfrm>
        </p:grpSpPr>
        <p:grpSp>
          <p:nvGrpSpPr>
            <p:cNvPr id="5640" name="Group 2230"/>
            <p:cNvGrpSpPr>
              <a:grpSpLocks/>
            </p:cNvGrpSpPr>
            <p:nvPr/>
          </p:nvGrpSpPr>
          <p:grpSpPr bwMode="auto">
            <a:xfrm>
              <a:off x="503" y="3328"/>
              <a:ext cx="81" cy="129"/>
              <a:chOff x="826" y="3127"/>
              <a:chExt cx="117" cy="186"/>
            </a:xfrm>
          </p:grpSpPr>
          <p:sp>
            <p:nvSpPr>
              <p:cNvPr id="5647" name="Freeform 223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48" name="Freeform 223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49" name="Freeform 223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50" name="Freeform 223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51" name="Freeform 223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41" name="Group 2236"/>
            <p:cNvGrpSpPr>
              <a:grpSpLocks/>
            </p:cNvGrpSpPr>
            <p:nvPr/>
          </p:nvGrpSpPr>
          <p:grpSpPr bwMode="auto">
            <a:xfrm>
              <a:off x="620" y="3300"/>
              <a:ext cx="81" cy="129"/>
              <a:chOff x="826" y="3127"/>
              <a:chExt cx="117" cy="186"/>
            </a:xfrm>
          </p:grpSpPr>
          <p:sp>
            <p:nvSpPr>
              <p:cNvPr id="5642" name="Freeform 223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43" name="Freeform 223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44" name="Freeform 223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45" name="Freeform 224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46" name="Freeform 224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30" name="Group 2242"/>
          <p:cNvGrpSpPr>
            <a:grpSpLocks/>
          </p:cNvGrpSpPr>
          <p:nvPr/>
        </p:nvGrpSpPr>
        <p:grpSpPr bwMode="auto">
          <a:xfrm>
            <a:off x="5608638" y="4419600"/>
            <a:ext cx="314325" cy="249238"/>
            <a:chOff x="503" y="3300"/>
            <a:chExt cx="198" cy="157"/>
          </a:xfrm>
        </p:grpSpPr>
        <p:grpSp>
          <p:nvGrpSpPr>
            <p:cNvPr id="5628" name="Group 2243"/>
            <p:cNvGrpSpPr>
              <a:grpSpLocks/>
            </p:cNvGrpSpPr>
            <p:nvPr/>
          </p:nvGrpSpPr>
          <p:grpSpPr bwMode="auto">
            <a:xfrm>
              <a:off x="503" y="3328"/>
              <a:ext cx="81" cy="129"/>
              <a:chOff x="826" y="3127"/>
              <a:chExt cx="117" cy="186"/>
            </a:xfrm>
          </p:grpSpPr>
          <p:sp>
            <p:nvSpPr>
              <p:cNvPr id="5635" name="Freeform 224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6" name="Freeform 224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7" name="Freeform 224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8" name="Freeform 224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9" name="Freeform 224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29" name="Group 2249"/>
            <p:cNvGrpSpPr>
              <a:grpSpLocks/>
            </p:cNvGrpSpPr>
            <p:nvPr/>
          </p:nvGrpSpPr>
          <p:grpSpPr bwMode="auto">
            <a:xfrm>
              <a:off x="620" y="3300"/>
              <a:ext cx="81" cy="129"/>
              <a:chOff x="826" y="3127"/>
              <a:chExt cx="117" cy="186"/>
            </a:xfrm>
          </p:grpSpPr>
          <p:sp>
            <p:nvSpPr>
              <p:cNvPr id="5630" name="Freeform 225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1" name="Freeform 225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2" name="Freeform 225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3" name="Freeform 225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34" name="Freeform 225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43" name="Group 2255"/>
          <p:cNvGrpSpPr>
            <a:grpSpLocks/>
          </p:cNvGrpSpPr>
          <p:nvPr/>
        </p:nvGrpSpPr>
        <p:grpSpPr bwMode="auto">
          <a:xfrm>
            <a:off x="5518150" y="4598988"/>
            <a:ext cx="314325" cy="249237"/>
            <a:chOff x="503" y="3300"/>
            <a:chExt cx="198" cy="157"/>
          </a:xfrm>
        </p:grpSpPr>
        <p:grpSp>
          <p:nvGrpSpPr>
            <p:cNvPr id="5616" name="Group 2256"/>
            <p:cNvGrpSpPr>
              <a:grpSpLocks/>
            </p:cNvGrpSpPr>
            <p:nvPr/>
          </p:nvGrpSpPr>
          <p:grpSpPr bwMode="auto">
            <a:xfrm>
              <a:off x="503" y="3328"/>
              <a:ext cx="81" cy="129"/>
              <a:chOff x="826" y="3127"/>
              <a:chExt cx="117" cy="186"/>
            </a:xfrm>
          </p:grpSpPr>
          <p:sp>
            <p:nvSpPr>
              <p:cNvPr id="5623" name="Freeform 225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4" name="Freeform 225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5" name="Freeform 225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6" name="Freeform 226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7" name="Freeform 226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17" name="Group 2262"/>
            <p:cNvGrpSpPr>
              <a:grpSpLocks/>
            </p:cNvGrpSpPr>
            <p:nvPr/>
          </p:nvGrpSpPr>
          <p:grpSpPr bwMode="auto">
            <a:xfrm>
              <a:off x="620" y="3300"/>
              <a:ext cx="81" cy="129"/>
              <a:chOff x="826" y="3127"/>
              <a:chExt cx="117" cy="186"/>
            </a:xfrm>
          </p:grpSpPr>
          <p:sp>
            <p:nvSpPr>
              <p:cNvPr id="5618" name="Freeform 2263"/>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19" name="Freeform 2264"/>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0" name="Freeform 2265"/>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1" name="Freeform 2266"/>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22" name="Freeform 2267"/>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56" name="Group 2268"/>
          <p:cNvGrpSpPr>
            <a:grpSpLocks/>
          </p:cNvGrpSpPr>
          <p:nvPr/>
        </p:nvGrpSpPr>
        <p:grpSpPr bwMode="auto">
          <a:xfrm>
            <a:off x="6057900" y="4329113"/>
            <a:ext cx="314325" cy="249237"/>
            <a:chOff x="503" y="3300"/>
            <a:chExt cx="198" cy="157"/>
          </a:xfrm>
        </p:grpSpPr>
        <p:grpSp>
          <p:nvGrpSpPr>
            <p:cNvPr id="5604" name="Group 2269"/>
            <p:cNvGrpSpPr>
              <a:grpSpLocks/>
            </p:cNvGrpSpPr>
            <p:nvPr/>
          </p:nvGrpSpPr>
          <p:grpSpPr bwMode="auto">
            <a:xfrm>
              <a:off x="503" y="3328"/>
              <a:ext cx="81" cy="129"/>
              <a:chOff x="826" y="3127"/>
              <a:chExt cx="117" cy="186"/>
            </a:xfrm>
          </p:grpSpPr>
          <p:sp>
            <p:nvSpPr>
              <p:cNvPr id="5611" name="Freeform 227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12" name="Freeform 227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13" name="Freeform 227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14" name="Freeform 227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15" name="Freeform 227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605" name="Group 2275"/>
            <p:cNvGrpSpPr>
              <a:grpSpLocks/>
            </p:cNvGrpSpPr>
            <p:nvPr/>
          </p:nvGrpSpPr>
          <p:grpSpPr bwMode="auto">
            <a:xfrm>
              <a:off x="620" y="3300"/>
              <a:ext cx="81" cy="129"/>
              <a:chOff x="826" y="3127"/>
              <a:chExt cx="117" cy="186"/>
            </a:xfrm>
          </p:grpSpPr>
          <p:sp>
            <p:nvSpPr>
              <p:cNvPr id="5606" name="Freeform 227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7" name="Freeform 227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8" name="Freeform 227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9" name="Freeform 227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10" name="Freeform 228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69" name="Group 2281"/>
          <p:cNvGrpSpPr>
            <a:grpSpLocks/>
          </p:cNvGrpSpPr>
          <p:nvPr/>
        </p:nvGrpSpPr>
        <p:grpSpPr bwMode="auto">
          <a:xfrm>
            <a:off x="6327775" y="5319713"/>
            <a:ext cx="314325" cy="249237"/>
            <a:chOff x="503" y="3300"/>
            <a:chExt cx="198" cy="157"/>
          </a:xfrm>
        </p:grpSpPr>
        <p:grpSp>
          <p:nvGrpSpPr>
            <p:cNvPr id="5592" name="Group 2282"/>
            <p:cNvGrpSpPr>
              <a:grpSpLocks/>
            </p:cNvGrpSpPr>
            <p:nvPr/>
          </p:nvGrpSpPr>
          <p:grpSpPr bwMode="auto">
            <a:xfrm>
              <a:off x="503" y="3328"/>
              <a:ext cx="81" cy="129"/>
              <a:chOff x="826" y="3127"/>
              <a:chExt cx="117" cy="186"/>
            </a:xfrm>
          </p:grpSpPr>
          <p:sp>
            <p:nvSpPr>
              <p:cNvPr id="5599" name="Freeform 2283"/>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0" name="Freeform 2284"/>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1" name="Freeform 2285"/>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2" name="Freeform 2286"/>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603" name="Freeform 2287"/>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93" name="Group 2288"/>
            <p:cNvGrpSpPr>
              <a:grpSpLocks/>
            </p:cNvGrpSpPr>
            <p:nvPr/>
          </p:nvGrpSpPr>
          <p:grpSpPr bwMode="auto">
            <a:xfrm>
              <a:off x="620" y="3300"/>
              <a:ext cx="81" cy="129"/>
              <a:chOff x="826" y="3127"/>
              <a:chExt cx="117" cy="186"/>
            </a:xfrm>
          </p:grpSpPr>
          <p:sp>
            <p:nvSpPr>
              <p:cNvPr id="5594" name="Freeform 228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95" name="Freeform 229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96" name="Freeform 229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97" name="Freeform 229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98" name="Freeform 229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82" name="Group 2294"/>
          <p:cNvGrpSpPr>
            <a:grpSpLocks/>
          </p:cNvGrpSpPr>
          <p:nvPr/>
        </p:nvGrpSpPr>
        <p:grpSpPr bwMode="auto">
          <a:xfrm>
            <a:off x="4619625" y="5340350"/>
            <a:ext cx="242888" cy="249238"/>
            <a:chOff x="503" y="3300"/>
            <a:chExt cx="198" cy="157"/>
          </a:xfrm>
        </p:grpSpPr>
        <p:grpSp>
          <p:nvGrpSpPr>
            <p:cNvPr id="5580" name="Group 2295"/>
            <p:cNvGrpSpPr>
              <a:grpSpLocks/>
            </p:cNvGrpSpPr>
            <p:nvPr/>
          </p:nvGrpSpPr>
          <p:grpSpPr bwMode="auto">
            <a:xfrm>
              <a:off x="503" y="3328"/>
              <a:ext cx="81" cy="129"/>
              <a:chOff x="826" y="3127"/>
              <a:chExt cx="117" cy="186"/>
            </a:xfrm>
          </p:grpSpPr>
          <p:sp>
            <p:nvSpPr>
              <p:cNvPr id="5587" name="Freeform 229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88" name="Freeform 229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89" name="Freeform 229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90" name="Freeform 229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91" name="Freeform 230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81" name="Group 2301"/>
            <p:cNvGrpSpPr>
              <a:grpSpLocks/>
            </p:cNvGrpSpPr>
            <p:nvPr/>
          </p:nvGrpSpPr>
          <p:grpSpPr bwMode="auto">
            <a:xfrm>
              <a:off x="620" y="3300"/>
              <a:ext cx="81" cy="129"/>
              <a:chOff x="826" y="3127"/>
              <a:chExt cx="117" cy="186"/>
            </a:xfrm>
          </p:grpSpPr>
          <p:sp>
            <p:nvSpPr>
              <p:cNvPr id="5582" name="Freeform 230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83" name="Freeform 230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84" name="Freeform 230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85" name="Freeform 230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86" name="Freeform 230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795" name="Group 2307"/>
          <p:cNvGrpSpPr>
            <a:grpSpLocks/>
          </p:cNvGrpSpPr>
          <p:nvPr/>
        </p:nvGrpSpPr>
        <p:grpSpPr bwMode="auto">
          <a:xfrm>
            <a:off x="3267075" y="5519738"/>
            <a:ext cx="314325" cy="249237"/>
            <a:chOff x="503" y="3300"/>
            <a:chExt cx="198" cy="157"/>
          </a:xfrm>
        </p:grpSpPr>
        <p:grpSp>
          <p:nvGrpSpPr>
            <p:cNvPr id="5568" name="Group 2308"/>
            <p:cNvGrpSpPr>
              <a:grpSpLocks/>
            </p:cNvGrpSpPr>
            <p:nvPr/>
          </p:nvGrpSpPr>
          <p:grpSpPr bwMode="auto">
            <a:xfrm>
              <a:off x="503" y="3328"/>
              <a:ext cx="81" cy="129"/>
              <a:chOff x="826" y="3127"/>
              <a:chExt cx="117" cy="186"/>
            </a:xfrm>
          </p:grpSpPr>
          <p:sp>
            <p:nvSpPr>
              <p:cNvPr id="5575" name="Freeform 230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6" name="Freeform 231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7" name="Freeform 231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8" name="Freeform 231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9" name="Freeform 231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69" name="Group 2314"/>
            <p:cNvGrpSpPr>
              <a:grpSpLocks/>
            </p:cNvGrpSpPr>
            <p:nvPr/>
          </p:nvGrpSpPr>
          <p:grpSpPr bwMode="auto">
            <a:xfrm>
              <a:off x="620" y="3300"/>
              <a:ext cx="81" cy="129"/>
              <a:chOff x="826" y="3127"/>
              <a:chExt cx="117" cy="186"/>
            </a:xfrm>
          </p:grpSpPr>
          <p:sp>
            <p:nvSpPr>
              <p:cNvPr id="5570" name="Freeform 231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1" name="Freeform 231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2" name="Freeform 231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3" name="Freeform 231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74" name="Freeform 231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808" name="Group 2320"/>
          <p:cNvGrpSpPr>
            <a:grpSpLocks/>
          </p:cNvGrpSpPr>
          <p:nvPr/>
        </p:nvGrpSpPr>
        <p:grpSpPr bwMode="auto">
          <a:xfrm>
            <a:off x="3446463" y="5249863"/>
            <a:ext cx="314325" cy="249237"/>
            <a:chOff x="503" y="3300"/>
            <a:chExt cx="198" cy="157"/>
          </a:xfrm>
        </p:grpSpPr>
        <p:grpSp>
          <p:nvGrpSpPr>
            <p:cNvPr id="5556" name="Group 2321"/>
            <p:cNvGrpSpPr>
              <a:grpSpLocks/>
            </p:cNvGrpSpPr>
            <p:nvPr/>
          </p:nvGrpSpPr>
          <p:grpSpPr bwMode="auto">
            <a:xfrm>
              <a:off x="503" y="3328"/>
              <a:ext cx="81" cy="129"/>
              <a:chOff x="826" y="3127"/>
              <a:chExt cx="117" cy="186"/>
            </a:xfrm>
          </p:grpSpPr>
          <p:sp>
            <p:nvSpPr>
              <p:cNvPr id="5563" name="Freeform 232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4" name="Freeform 232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5" name="Freeform 232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6" name="Freeform 232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7" name="Freeform 232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57" name="Group 2327"/>
            <p:cNvGrpSpPr>
              <a:grpSpLocks/>
            </p:cNvGrpSpPr>
            <p:nvPr/>
          </p:nvGrpSpPr>
          <p:grpSpPr bwMode="auto">
            <a:xfrm>
              <a:off x="620" y="3300"/>
              <a:ext cx="81" cy="129"/>
              <a:chOff x="826" y="3127"/>
              <a:chExt cx="117" cy="186"/>
            </a:xfrm>
          </p:grpSpPr>
          <p:sp>
            <p:nvSpPr>
              <p:cNvPr id="5558" name="Freeform 2328"/>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59" name="Freeform 2329"/>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0" name="Freeform 2330"/>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1" name="Freeform 2331"/>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62" name="Freeform 2332"/>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821" name="Group 2333"/>
          <p:cNvGrpSpPr>
            <a:grpSpLocks/>
          </p:cNvGrpSpPr>
          <p:nvPr/>
        </p:nvGrpSpPr>
        <p:grpSpPr bwMode="auto">
          <a:xfrm>
            <a:off x="4391025" y="4073525"/>
            <a:ext cx="500063" cy="384175"/>
            <a:chOff x="782" y="2706"/>
            <a:chExt cx="315" cy="242"/>
          </a:xfrm>
        </p:grpSpPr>
        <p:grpSp>
          <p:nvGrpSpPr>
            <p:cNvPr id="5538" name="Group 2334"/>
            <p:cNvGrpSpPr>
              <a:grpSpLocks/>
            </p:cNvGrpSpPr>
            <p:nvPr/>
          </p:nvGrpSpPr>
          <p:grpSpPr bwMode="auto">
            <a:xfrm>
              <a:off x="899" y="2819"/>
              <a:ext cx="81" cy="129"/>
              <a:chOff x="826" y="3127"/>
              <a:chExt cx="117" cy="186"/>
            </a:xfrm>
          </p:grpSpPr>
          <p:sp>
            <p:nvSpPr>
              <p:cNvPr id="5551" name="Freeform 233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52" name="Freeform 233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53" name="Freeform 233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54" name="Freeform 233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55" name="Freeform 233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39" name="Group 2340"/>
            <p:cNvGrpSpPr>
              <a:grpSpLocks/>
            </p:cNvGrpSpPr>
            <p:nvPr/>
          </p:nvGrpSpPr>
          <p:grpSpPr bwMode="auto">
            <a:xfrm>
              <a:off x="782" y="2706"/>
              <a:ext cx="81" cy="129"/>
              <a:chOff x="826" y="3127"/>
              <a:chExt cx="117" cy="186"/>
            </a:xfrm>
          </p:grpSpPr>
          <p:sp>
            <p:nvSpPr>
              <p:cNvPr id="5546" name="Freeform 234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7" name="Freeform 234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8" name="Freeform 234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9" name="Freeform 234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50" name="Freeform 234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40" name="Group 2346"/>
            <p:cNvGrpSpPr>
              <a:grpSpLocks/>
            </p:cNvGrpSpPr>
            <p:nvPr/>
          </p:nvGrpSpPr>
          <p:grpSpPr bwMode="auto">
            <a:xfrm>
              <a:off x="1016" y="2819"/>
              <a:ext cx="81" cy="129"/>
              <a:chOff x="826" y="3127"/>
              <a:chExt cx="117" cy="186"/>
            </a:xfrm>
          </p:grpSpPr>
          <p:sp>
            <p:nvSpPr>
              <p:cNvPr id="5541" name="Freeform 234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2" name="Freeform 234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3" name="Freeform 234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4" name="Freeform 235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45" name="Freeform 235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840" name="Group 2352"/>
          <p:cNvGrpSpPr>
            <a:grpSpLocks/>
          </p:cNvGrpSpPr>
          <p:nvPr/>
        </p:nvGrpSpPr>
        <p:grpSpPr bwMode="auto">
          <a:xfrm>
            <a:off x="2838450" y="3908425"/>
            <a:ext cx="654050" cy="565150"/>
            <a:chOff x="2061" y="1876"/>
            <a:chExt cx="412" cy="356"/>
          </a:xfrm>
        </p:grpSpPr>
        <p:grpSp>
          <p:nvGrpSpPr>
            <p:cNvPr id="5514" name="Group 2353"/>
            <p:cNvGrpSpPr>
              <a:grpSpLocks/>
            </p:cNvGrpSpPr>
            <p:nvPr/>
          </p:nvGrpSpPr>
          <p:grpSpPr bwMode="auto">
            <a:xfrm>
              <a:off x="2275" y="2103"/>
              <a:ext cx="81" cy="129"/>
              <a:chOff x="826" y="3127"/>
              <a:chExt cx="117" cy="186"/>
            </a:xfrm>
          </p:grpSpPr>
          <p:sp>
            <p:nvSpPr>
              <p:cNvPr id="5533" name="Freeform 235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4" name="Freeform 235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5" name="Freeform 235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6" name="Freeform 235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7" name="Freeform 235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15" name="Group 2359"/>
            <p:cNvGrpSpPr>
              <a:grpSpLocks/>
            </p:cNvGrpSpPr>
            <p:nvPr/>
          </p:nvGrpSpPr>
          <p:grpSpPr bwMode="auto">
            <a:xfrm>
              <a:off x="2061" y="1876"/>
              <a:ext cx="81" cy="129"/>
              <a:chOff x="826" y="3127"/>
              <a:chExt cx="117" cy="186"/>
            </a:xfrm>
          </p:grpSpPr>
          <p:sp>
            <p:nvSpPr>
              <p:cNvPr id="5528" name="Freeform 236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9" name="Freeform 236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0" name="Freeform 236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1" name="Freeform 236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32" name="Freeform 236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16" name="Group 2365"/>
            <p:cNvGrpSpPr>
              <a:grpSpLocks/>
            </p:cNvGrpSpPr>
            <p:nvPr/>
          </p:nvGrpSpPr>
          <p:grpSpPr bwMode="auto">
            <a:xfrm>
              <a:off x="2158" y="1990"/>
              <a:ext cx="81" cy="129"/>
              <a:chOff x="826" y="3127"/>
              <a:chExt cx="117" cy="186"/>
            </a:xfrm>
          </p:grpSpPr>
          <p:sp>
            <p:nvSpPr>
              <p:cNvPr id="5523" name="Freeform 236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4" name="Freeform 236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5" name="Freeform 236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6" name="Freeform 236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7" name="Freeform 237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517" name="Group 2371"/>
            <p:cNvGrpSpPr>
              <a:grpSpLocks/>
            </p:cNvGrpSpPr>
            <p:nvPr/>
          </p:nvGrpSpPr>
          <p:grpSpPr bwMode="auto">
            <a:xfrm>
              <a:off x="2392" y="2103"/>
              <a:ext cx="81" cy="129"/>
              <a:chOff x="826" y="3127"/>
              <a:chExt cx="117" cy="186"/>
            </a:xfrm>
          </p:grpSpPr>
          <p:sp>
            <p:nvSpPr>
              <p:cNvPr id="5518" name="Freeform 237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19" name="Freeform 237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0" name="Freeform 237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1" name="Freeform 237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22" name="Freeform 237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865" name="Group 2377"/>
          <p:cNvGrpSpPr>
            <a:grpSpLocks/>
          </p:cNvGrpSpPr>
          <p:nvPr/>
        </p:nvGrpSpPr>
        <p:grpSpPr bwMode="auto">
          <a:xfrm>
            <a:off x="4187825" y="4303713"/>
            <a:ext cx="654050" cy="565150"/>
            <a:chOff x="2061" y="1876"/>
            <a:chExt cx="412" cy="356"/>
          </a:xfrm>
        </p:grpSpPr>
        <p:grpSp>
          <p:nvGrpSpPr>
            <p:cNvPr id="5490" name="Group 2378"/>
            <p:cNvGrpSpPr>
              <a:grpSpLocks/>
            </p:cNvGrpSpPr>
            <p:nvPr/>
          </p:nvGrpSpPr>
          <p:grpSpPr bwMode="auto">
            <a:xfrm>
              <a:off x="2275" y="2103"/>
              <a:ext cx="81" cy="129"/>
              <a:chOff x="826" y="3127"/>
              <a:chExt cx="117" cy="186"/>
            </a:xfrm>
          </p:grpSpPr>
          <p:sp>
            <p:nvSpPr>
              <p:cNvPr id="5509" name="Freeform 237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10" name="Freeform 238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11" name="Freeform 238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12" name="Freeform 238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13" name="Freeform 238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91" name="Group 2384"/>
            <p:cNvGrpSpPr>
              <a:grpSpLocks/>
            </p:cNvGrpSpPr>
            <p:nvPr/>
          </p:nvGrpSpPr>
          <p:grpSpPr bwMode="auto">
            <a:xfrm>
              <a:off x="2061" y="1876"/>
              <a:ext cx="81" cy="129"/>
              <a:chOff x="826" y="3127"/>
              <a:chExt cx="117" cy="186"/>
            </a:xfrm>
          </p:grpSpPr>
          <p:sp>
            <p:nvSpPr>
              <p:cNvPr id="5504" name="Freeform 238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5" name="Freeform 238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6" name="Freeform 238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7" name="Freeform 238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8" name="Freeform 238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92" name="Group 2390"/>
            <p:cNvGrpSpPr>
              <a:grpSpLocks/>
            </p:cNvGrpSpPr>
            <p:nvPr/>
          </p:nvGrpSpPr>
          <p:grpSpPr bwMode="auto">
            <a:xfrm>
              <a:off x="2158" y="1990"/>
              <a:ext cx="81" cy="129"/>
              <a:chOff x="826" y="3127"/>
              <a:chExt cx="117" cy="186"/>
            </a:xfrm>
          </p:grpSpPr>
          <p:sp>
            <p:nvSpPr>
              <p:cNvPr id="5499" name="Freeform 239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0" name="Freeform 239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1" name="Freeform 239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2" name="Freeform 239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503" name="Freeform 239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93" name="Group 2396"/>
            <p:cNvGrpSpPr>
              <a:grpSpLocks/>
            </p:cNvGrpSpPr>
            <p:nvPr/>
          </p:nvGrpSpPr>
          <p:grpSpPr bwMode="auto">
            <a:xfrm>
              <a:off x="2392" y="2103"/>
              <a:ext cx="81" cy="129"/>
              <a:chOff x="826" y="3127"/>
              <a:chExt cx="117" cy="186"/>
            </a:xfrm>
          </p:grpSpPr>
          <p:sp>
            <p:nvSpPr>
              <p:cNvPr id="5494" name="Freeform 239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95" name="Freeform 239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96" name="Freeform 239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97" name="Freeform 240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98" name="Freeform 240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890" name="Group 2402"/>
          <p:cNvGrpSpPr>
            <a:grpSpLocks/>
          </p:cNvGrpSpPr>
          <p:nvPr/>
        </p:nvGrpSpPr>
        <p:grpSpPr bwMode="auto">
          <a:xfrm>
            <a:off x="5718175" y="4238625"/>
            <a:ext cx="654050" cy="565150"/>
            <a:chOff x="2061" y="1876"/>
            <a:chExt cx="412" cy="356"/>
          </a:xfrm>
        </p:grpSpPr>
        <p:grpSp>
          <p:nvGrpSpPr>
            <p:cNvPr id="5466" name="Group 2403"/>
            <p:cNvGrpSpPr>
              <a:grpSpLocks/>
            </p:cNvGrpSpPr>
            <p:nvPr/>
          </p:nvGrpSpPr>
          <p:grpSpPr bwMode="auto">
            <a:xfrm>
              <a:off x="2275" y="2103"/>
              <a:ext cx="81" cy="129"/>
              <a:chOff x="826" y="3127"/>
              <a:chExt cx="117" cy="186"/>
            </a:xfrm>
          </p:grpSpPr>
          <p:sp>
            <p:nvSpPr>
              <p:cNvPr id="5485" name="Freeform 240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6" name="Freeform 240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7" name="Freeform 240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8" name="Freeform 240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9" name="Freeform 240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67" name="Group 2409"/>
            <p:cNvGrpSpPr>
              <a:grpSpLocks/>
            </p:cNvGrpSpPr>
            <p:nvPr/>
          </p:nvGrpSpPr>
          <p:grpSpPr bwMode="auto">
            <a:xfrm>
              <a:off x="2061" y="1876"/>
              <a:ext cx="81" cy="129"/>
              <a:chOff x="826" y="3127"/>
              <a:chExt cx="117" cy="186"/>
            </a:xfrm>
          </p:grpSpPr>
          <p:sp>
            <p:nvSpPr>
              <p:cNvPr id="5480" name="Freeform 241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1" name="Freeform 241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2" name="Freeform 241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3" name="Freeform 241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84" name="Freeform 241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68" name="Group 2415"/>
            <p:cNvGrpSpPr>
              <a:grpSpLocks/>
            </p:cNvGrpSpPr>
            <p:nvPr/>
          </p:nvGrpSpPr>
          <p:grpSpPr bwMode="auto">
            <a:xfrm>
              <a:off x="2158" y="1990"/>
              <a:ext cx="81" cy="129"/>
              <a:chOff x="826" y="3127"/>
              <a:chExt cx="117" cy="186"/>
            </a:xfrm>
          </p:grpSpPr>
          <p:sp>
            <p:nvSpPr>
              <p:cNvPr id="5475" name="Freeform 241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6" name="Freeform 241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7" name="Freeform 241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8" name="Freeform 241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9" name="Freeform 242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69" name="Group 2421"/>
            <p:cNvGrpSpPr>
              <a:grpSpLocks/>
            </p:cNvGrpSpPr>
            <p:nvPr/>
          </p:nvGrpSpPr>
          <p:grpSpPr bwMode="auto">
            <a:xfrm>
              <a:off x="2392" y="2103"/>
              <a:ext cx="81" cy="129"/>
              <a:chOff x="826" y="3127"/>
              <a:chExt cx="117" cy="186"/>
            </a:xfrm>
          </p:grpSpPr>
          <p:sp>
            <p:nvSpPr>
              <p:cNvPr id="5470" name="Freeform 242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1" name="Freeform 242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2" name="Freeform 242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3" name="Freeform 242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74" name="Freeform 242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915" name="Group 2427"/>
          <p:cNvGrpSpPr>
            <a:grpSpLocks/>
          </p:cNvGrpSpPr>
          <p:nvPr/>
        </p:nvGrpSpPr>
        <p:grpSpPr bwMode="auto">
          <a:xfrm>
            <a:off x="3221038" y="4868863"/>
            <a:ext cx="654050" cy="565150"/>
            <a:chOff x="2061" y="1876"/>
            <a:chExt cx="412" cy="356"/>
          </a:xfrm>
        </p:grpSpPr>
        <p:grpSp>
          <p:nvGrpSpPr>
            <p:cNvPr id="5442" name="Group 2428"/>
            <p:cNvGrpSpPr>
              <a:grpSpLocks/>
            </p:cNvGrpSpPr>
            <p:nvPr/>
          </p:nvGrpSpPr>
          <p:grpSpPr bwMode="auto">
            <a:xfrm>
              <a:off x="2275" y="2103"/>
              <a:ext cx="81" cy="129"/>
              <a:chOff x="826" y="3127"/>
              <a:chExt cx="117" cy="186"/>
            </a:xfrm>
          </p:grpSpPr>
          <p:sp>
            <p:nvSpPr>
              <p:cNvPr id="5461" name="Freeform 242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62" name="Freeform 243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63" name="Freeform 243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64" name="Freeform 243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65" name="Freeform 243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43" name="Group 2434"/>
            <p:cNvGrpSpPr>
              <a:grpSpLocks/>
            </p:cNvGrpSpPr>
            <p:nvPr/>
          </p:nvGrpSpPr>
          <p:grpSpPr bwMode="auto">
            <a:xfrm>
              <a:off x="2061" y="1876"/>
              <a:ext cx="81" cy="129"/>
              <a:chOff x="826" y="3127"/>
              <a:chExt cx="117" cy="186"/>
            </a:xfrm>
          </p:grpSpPr>
          <p:sp>
            <p:nvSpPr>
              <p:cNvPr id="5456" name="Freeform 243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7" name="Freeform 243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8" name="Freeform 243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9" name="Freeform 243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60" name="Freeform 243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44" name="Group 2440"/>
            <p:cNvGrpSpPr>
              <a:grpSpLocks/>
            </p:cNvGrpSpPr>
            <p:nvPr/>
          </p:nvGrpSpPr>
          <p:grpSpPr bwMode="auto">
            <a:xfrm>
              <a:off x="2158" y="1990"/>
              <a:ext cx="81" cy="129"/>
              <a:chOff x="826" y="3127"/>
              <a:chExt cx="117" cy="186"/>
            </a:xfrm>
          </p:grpSpPr>
          <p:sp>
            <p:nvSpPr>
              <p:cNvPr id="5451" name="Freeform 244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2" name="Freeform 244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3" name="Freeform 244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4" name="Freeform 244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5" name="Freeform 244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45" name="Group 2446"/>
            <p:cNvGrpSpPr>
              <a:grpSpLocks/>
            </p:cNvGrpSpPr>
            <p:nvPr/>
          </p:nvGrpSpPr>
          <p:grpSpPr bwMode="auto">
            <a:xfrm>
              <a:off x="2392" y="2103"/>
              <a:ext cx="81" cy="129"/>
              <a:chOff x="826" y="3127"/>
              <a:chExt cx="117" cy="186"/>
            </a:xfrm>
          </p:grpSpPr>
          <p:sp>
            <p:nvSpPr>
              <p:cNvPr id="5446" name="Freeform 244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47" name="Freeform 244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48" name="Freeform 244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49" name="Freeform 245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50" name="Freeform 245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940" name="Group 2452"/>
          <p:cNvGrpSpPr>
            <a:grpSpLocks/>
          </p:cNvGrpSpPr>
          <p:nvPr/>
        </p:nvGrpSpPr>
        <p:grpSpPr bwMode="auto">
          <a:xfrm>
            <a:off x="4368800" y="3943350"/>
            <a:ext cx="654050" cy="565150"/>
            <a:chOff x="2061" y="1876"/>
            <a:chExt cx="412" cy="356"/>
          </a:xfrm>
        </p:grpSpPr>
        <p:grpSp>
          <p:nvGrpSpPr>
            <p:cNvPr id="5418" name="Group 2453"/>
            <p:cNvGrpSpPr>
              <a:grpSpLocks/>
            </p:cNvGrpSpPr>
            <p:nvPr/>
          </p:nvGrpSpPr>
          <p:grpSpPr bwMode="auto">
            <a:xfrm>
              <a:off x="2275" y="2103"/>
              <a:ext cx="81" cy="129"/>
              <a:chOff x="826" y="3127"/>
              <a:chExt cx="117" cy="186"/>
            </a:xfrm>
          </p:grpSpPr>
          <p:sp>
            <p:nvSpPr>
              <p:cNvPr id="5437" name="Freeform 245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8" name="Freeform 245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9" name="Freeform 245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40" name="Freeform 245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41" name="Freeform 245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19" name="Group 2459"/>
            <p:cNvGrpSpPr>
              <a:grpSpLocks/>
            </p:cNvGrpSpPr>
            <p:nvPr/>
          </p:nvGrpSpPr>
          <p:grpSpPr bwMode="auto">
            <a:xfrm>
              <a:off x="2061" y="1876"/>
              <a:ext cx="81" cy="129"/>
              <a:chOff x="826" y="3127"/>
              <a:chExt cx="117" cy="186"/>
            </a:xfrm>
          </p:grpSpPr>
          <p:sp>
            <p:nvSpPr>
              <p:cNvPr id="5432" name="Freeform 246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3" name="Freeform 246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4" name="Freeform 246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5" name="Freeform 246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6" name="Freeform 246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20" name="Group 2465"/>
            <p:cNvGrpSpPr>
              <a:grpSpLocks/>
            </p:cNvGrpSpPr>
            <p:nvPr/>
          </p:nvGrpSpPr>
          <p:grpSpPr bwMode="auto">
            <a:xfrm>
              <a:off x="2158" y="1990"/>
              <a:ext cx="81" cy="129"/>
              <a:chOff x="826" y="3127"/>
              <a:chExt cx="117" cy="186"/>
            </a:xfrm>
          </p:grpSpPr>
          <p:sp>
            <p:nvSpPr>
              <p:cNvPr id="5427" name="Freeform 246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28" name="Freeform 246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29" name="Freeform 246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0" name="Freeform 246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31" name="Freeform 247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421" name="Group 2471"/>
            <p:cNvGrpSpPr>
              <a:grpSpLocks/>
            </p:cNvGrpSpPr>
            <p:nvPr/>
          </p:nvGrpSpPr>
          <p:grpSpPr bwMode="auto">
            <a:xfrm>
              <a:off x="2392" y="2103"/>
              <a:ext cx="81" cy="129"/>
              <a:chOff x="826" y="3127"/>
              <a:chExt cx="117" cy="186"/>
            </a:xfrm>
          </p:grpSpPr>
          <p:sp>
            <p:nvSpPr>
              <p:cNvPr id="5422" name="Freeform 247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23" name="Freeform 247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24" name="Freeform 247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25" name="Freeform 247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26" name="Freeform 247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965" name="Group 2477"/>
          <p:cNvGrpSpPr>
            <a:grpSpLocks/>
          </p:cNvGrpSpPr>
          <p:nvPr/>
        </p:nvGrpSpPr>
        <p:grpSpPr bwMode="auto">
          <a:xfrm>
            <a:off x="5022850" y="3854450"/>
            <a:ext cx="654050" cy="565150"/>
            <a:chOff x="2061" y="1876"/>
            <a:chExt cx="412" cy="356"/>
          </a:xfrm>
        </p:grpSpPr>
        <p:grpSp>
          <p:nvGrpSpPr>
            <p:cNvPr id="5394" name="Group 2478"/>
            <p:cNvGrpSpPr>
              <a:grpSpLocks/>
            </p:cNvGrpSpPr>
            <p:nvPr/>
          </p:nvGrpSpPr>
          <p:grpSpPr bwMode="auto">
            <a:xfrm>
              <a:off x="2275" y="2103"/>
              <a:ext cx="81" cy="129"/>
              <a:chOff x="826" y="3127"/>
              <a:chExt cx="117" cy="186"/>
            </a:xfrm>
          </p:grpSpPr>
          <p:sp>
            <p:nvSpPr>
              <p:cNvPr id="5413" name="Freeform 247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4" name="Freeform 248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5" name="Freeform 248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6" name="Freeform 248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7" name="Freeform 248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95" name="Group 2484"/>
            <p:cNvGrpSpPr>
              <a:grpSpLocks/>
            </p:cNvGrpSpPr>
            <p:nvPr/>
          </p:nvGrpSpPr>
          <p:grpSpPr bwMode="auto">
            <a:xfrm>
              <a:off x="2061" y="1876"/>
              <a:ext cx="81" cy="129"/>
              <a:chOff x="826" y="3127"/>
              <a:chExt cx="117" cy="186"/>
            </a:xfrm>
          </p:grpSpPr>
          <p:sp>
            <p:nvSpPr>
              <p:cNvPr id="5408" name="Freeform 248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9" name="Freeform 248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0" name="Freeform 248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1" name="Freeform 248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12" name="Freeform 248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96" name="Group 2490"/>
            <p:cNvGrpSpPr>
              <a:grpSpLocks/>
            </p:cNvGrpSpPr>
            <p:nvPr/>
          </p:nvGrpSpPr>
          <p:grpSpPr bwMode="auto">
            <a:xfrm>
              <a:off x="2158" y="1990"/>
              <a:ext cx="81" cy="129"/>
              <a:chOff x="826" y="3127"/>
              <a:chExt cx="117" cy="186"/>
            </a:xfrm>
          </p:grpSpPr>
          <p:sp>
            <p:nvSpPr>
              <p:cNvPr id="5403" name="Freeform 249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4" name="Freeform 249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5" name="Freeform 249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6" name="Freeform 249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7" name="Freeform 249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97" name="Group 2496"/>
            <p:cNvGrpSpPr>
              <a:grpSpLocks/>
            </p:cNvGrpSpPr>
            <p:nvPr/>
          </p:nvGrpSpPr>
          <p:grpSpPr bwMode="auto">
            <a:xfrm>
              <a:off x="2392" y="2103"/>
              <a:ext cx="81" cy="129"/>
              <a:chOff x="826" y="3127"/>
              <a:chExt cx="117" cy="186"/>
            </a:xfrm>
          </p:grpSpPr>
          <p:sp>
            <p:nvSpPr>
              <p:cNvPr id="5398" name="Freeform 249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99" name="Freeform 249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0" name="Freeform 249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1" name="Freeform 250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02" name="Freeform 250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49990" name="Group 2502"/>
          <p:cNvGrpSpPr>
            <a:grpSpLocks/>
          </p:cNvGrpSpPr>
          <p:nvPr/>
        </p:nvGrpSpPr>
        <p:grpSpPr bwMode="auto">
          <a:xfrm>
            <a:off x="4121150" y="3943350"/>
            <a:ext cx="654050" cy="565150"/>
            <a:chOff x="2061" y="1876"/>
            <a:chExt cx="412" cy="356"/>
          </a:xfrm>
        </p:grpSpPr>
        <p:grpSp>
          <p:nvGrpSpPr>
            <p:cNvPr id="5370" name="Group 2503"/>
            <p:cNvGrpSpPr>
              <a:grpSpLocks/>
            </p:cNvGrpSpPr>
            <p:nvPr/>
          </p:nvGrpSpPr>
          <p:grpSpPr bwMode="auto">
            <a:xfrm>
              <a:off x="2275" y="2103"/>
              <a:ext cx="81" cy="129"/>
              <a:chOff x="826" y="3127"/>
              <a:chExt cx="117" cy="186"/>
            </a:xfrm>
          </p:grpSpPr>
          <p:sp>
            <p:nvSpPr>
              <p:cNvPr id="5389" name="Freeform 250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90" name="Freeform 250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91" name="Freeform 250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92" name="Freeform 250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93" name="Freeform 250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71" name="Group 2509"/>
            <p:cNvGrpSpPr>
              <a:grpSpLocks/>
            </p:cNvGrpSpPr>
            <p:nvPr/>
          </p:nvGrpSpPr>
          <p:grpSpPr bwMode="auto">
            <a:xfrm>
              <a:off x="2061" y="1876"/>
              <a:ext cx="81" cy="129"/>
              <a:chOff x="826" y="3127"/>
              <a:chExt cx="117" cy="186"/>
            </a:xfrm>
          </p:grpSpPr>
          <p:sp>
            <p:nvSpPr>
              <p:cNvPr id="5384" name="Freeform 251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5" name="Freeform 251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6" name="Freeform 251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7" name="Freeform 251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8" name="Freeform 251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72" name="Group 2515"/>
            <p:cNvGrpSpPr>
              <a:grpSpLocks/>
            </p:cNvGrpSpPr>
            <p:nvPr/>
          </p:nvGrpSpPr>
          <p:grpSpPr bwMode="auto">
            <a:xfrm>
              <a:off x="2158" y="1990"/>
              <a:ext cx="81" cy="129"/>
              <a:chOff x="826" y="3127"/>
              <a:chExt cx="117" cy="186"/>
            </a:xfrm>
          </p:grpSpPr>
          <p:sp>
            <p:nvSpPr>
              <p:cNvPr id="5379" name="Freeform 251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0" name="Freeform 251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1" name="Freeform 251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2" name="Freeform 251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83" name="Freeform 252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73" name="Group 2521"/>
            <p:cNvGrpSpPr>
              <a:grpSpLocks/>
            </p:cNvGrpSpPr>
            <p:nvPr/>
          </p:nvGrpSpPr>
          <p:grpSpPr bwMode="auto">
            <a:xfrm>
              <a:off x="2392" y="2103"/>
              <a:ext cx="81" cy="129"/>
              <a:chOff x="826" y="3127"/>
              <a:chExt cx="117" cy="186"/>
            </a:xfrm>
          </p:grpSpPr>
          <p:sp>
            <p:nvSpPr>
              <p:cNvPr id="5374" name="Freeform 252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75" name="Freeform 252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76" name="Freeform 252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77" name="Freeform 252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78" name="Freeform 252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15" name="Group 2527"/>
          <p:cNvGrpSpPr>
            <a:grpSpLocks/>
          </p:cNvGrpSpPr>
          <p:nvPr/>
        </p:nvGrpSpPr>
        <p:grpSpPr bwMode="auto">
          <a:xfrm>
            <a:off x="4170363" y="3989388"/>
            <a:ext cx="222250" cy="249237"/>
            <a:chOff x="503" y="3300"/>
            <a:chExt cx="198" cy="157"/>
          </a:xfrm>
        </p:grpSpPr>
        <p:grpSp>
          <p:nvGrpSpPr>
            <p:cNvPr id="5358" name="Group 2528"/>
            <p:cNvGrpSpPr>
              <a:grpSpLocks/>
            </p:cNvGrpSpPr>
            <p:nvPr/>
          </p:nvGrpSpPr>
          <p:grpSpPr bwMode="auto">
            <a:xfrm>
              <a:off x="503" y="3328"/>
              <a:ext cx="81" cy="129"/>
              <a:chOff x="826" y="3127"/>
              <a:chExt cx="117" cy="186"/>
            </a:xfrm>
          </p:grpSpPr>
          <p:sp>
            <p:nvSpPr>
              <p:cNvPr id="5365" name="Freeform 252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6" name="Freeform 253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7" name="Freeform 253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8" name="Freeform 253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9" name="Freeform 253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59" name="Group 2534"/>
            <p:cNvGrpSpPr>
              <a:grpSpLocks/>
            </p:cNvGrpSpPr>
            <p:nvPr/>
          </p:nvGrpSpPr>
          <p:grpSpPr bwMode="auto">
            <a:xfrm>
              <a:off x="620" y="3300"/>
              <a:ext cx="81" cy="129"/>
              <a:chOff x="826" y="3127"/>
              <a:chExt cx="117" cy="186"/>
            </a:xfrm>
          </p:grpSpPr>
          <p:sp>
            <p:nvSpPr>
              <p:cNvPr id="5360" name="Freeform 253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1" name="Freeform 253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2" name="Freeform 253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3" name="Freeform 253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64" name="Freeform 253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28" name="Group 2540"/>
          <p:cNvGrpSpPr>
            <a:grpSpLocks/>
          </p:cNvGrpSpPr>
          <p:nvPr/>
        </p:nvGrpSpPr>
        <p:grpSpPr bwMode="auto">
          <a:xfrm>
            <a:off x="4979988" y="4530725"/>
            <a:ext cx="222250" cy="249238"/>
            <a:chOff x="503" y="3300"/>
            <a:chExt cx="198" cy="157"/>
          </a:xfrm>
        </p:grpSpPr>
        <p:grpSp>
          <p:nvGrpSpPr>
            <p:cNvPr id="5346" name="Group 2541"/>
            <p:cNvGrpSpPr>
              <a:grpSpLocks/>
            </p:cNvGrpSpPr>
            <p:nvPr/>
          </p:nvGrpSpPr>
          <p:grpSpPr bwMode="auto">
            <a:xfrm>
              <a:off x="503" y="3328"/>
              <a:ext cx="81" cy="129"/>
              <a:chOff x="826" y="3127"/>
              <a:chExt cx="117" cy="186"/>
            </a:xfrm>
          </p:grpSpPr>
          <p:sp>
            <p:nvSpPr>
              <p:cNvPr id="5353" name="Freeform 254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4" name="Freeform 254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5" name="Freeform 254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6" name="Freeform 254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7" name="Freeform 254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47" name="Group 2547"/>
            <p:cNvGrpSpPr>
              <a:grpSpLocks/>
            </p:cNvGrpSpPr>
            <p:nvPr/>
          </p:nvGrpSpPr>
          <p:grpSpPr bwMode="auto">
            <a:xfrm>
              <a:off x="620" y="3300"/>
              <a:ext cx="81" cy="129"/>
              <a:chOff x="826" y="3127"/>
              <a:chExt cx="117" cy="186"/>
            </a:xfrm>
          </p:grpSpPr>
          <p:sp>
            <p:nvSpPr>
              <p:cNvPr id="5348" name="Freeform 2548"/>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49" name="Freeform 2549"/>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0" name="Freeform 2550"/>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1" name="Freeform 2551"/>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52" name="Freeform 2552"/>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41" name="Group 2553"/>
          <p:cNvGrpSpPr>
            <a:grpSpLocks/>
          </p:cNvGrpSpPr>
          <p:nvPr/>
        </p:nvGrpSpPr>
        <p:grpSpPr bwMode="auto">
          <a:xfrm>
            <a:off x="5970588" y="4868863"/>
            <a:ext cx="222250" cy="249237"/>
            <a:chOff x="503" y="3300"/>
            <a:chExt cx="198" cy="157"/>
          </a:xfrm>
        </p:grpSpPr>
        <p:grpSp>
          <p:nvGrpSpPr>
            <p:cNvPr id="5334" name="Group 2554"/>
            <p:cNvGrpSpPr>
              <a:grpSpLocks/>
            </p:cNvGrpSpPr>
            <p:nvPr/>
          </p:nvGrpSpPr>
          <p:grpSpPr bwMode="auto">
            <a:xfrm>
              <a:off x="503" y="3328"/>
              <a:ext cx="81" cy="129"/>
              <a:chOff x="826" y="3127"/>
              <a:chExt cx="117" cy="186"/>
            </a:xfrm>
          </p:grpSpPr>
          <p:sp>
            <p:nvSpPr>
              <p:cNvPr id="5341" name="Freeform 255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42" name="Freeform 255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43" name="Freeform 255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44" name="Freeform 255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45" name="Freeform 255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35" name="Group 2560"/>
            <p:cNvGrpSpPr>
              <a:grpSpLocks/>
            </p:cNvGrpSpPr>
            <p:nvPr/>
          </p:nvGrpSpPr>
          <p:grpSpPr bwMode="auto">
            <a:xfrm>
              <a:off x="620" y="3300"/>
              <a:ext cx="81" cy="129"/>
              <a:chOff x="826" y="3127"/>
              <a:chExt cx="117" cy="186"/>
            </a:xfrm>
          </p:grpSpPr>
          <p:sp>
            <p:nvSpPr>
              <p:cNvPr id="5336" name="Freeform 256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7" name="Freeform 256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8" name="Freeform 256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9" name="Freeform 256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40" name="Freeform 256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54" name="Group 2566"/>
          <p:cNvGrpSpPr>
            <a:grpSpLocks/>
          </p:cNvGrpSpPr>
          <p:nvPr/>
        </p:nvGrpSpPr>
        <p:grpSpPr bwMode="auto">
          <a:xfrm>
            <a:off x="2432050" y="3879850"/>
            <a:ext cx="222250" cy="249238"/>
            <a:chOff x="503" y="3300"/>
            <a:chExt cx="198" cy="157"/>
          </a:xfrm>
        </p:grpSpPr>
        <p:grpSp>
          <p:nvGrpSpPr>
            <p:cNvPr id="5322" name="Group 2567"/>
            <p:cNvGrpSpPr>
              <a:grpSpLocks/>
            </p:cNvGrpSpPr>
            <p:nvPr/>
          </p:nvGrpSpPr>
          <p:grpSpPr bwMode="auto">
            <a:xfrm>
              <a:off x="503" y="3328"/>
              <a:ext cx="81" cy="129"/>
              <a:chOff x="826" y="3127"/>
              <a:chExt cx="117" cy="186"/>
            </a:xfrm>
          </p:grpSpPr>
          <p:sp>
            <p:nvSpPr>
              <p:cNvPr id="5329" name="Freeform 2568"/>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0" name="Freeform 2569"/>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1" name="Freeform 2570"/>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2" name="Freeform 2571"/>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33" name="Freeform 2572"/>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23" name="Group 2573"/>
            <p:cNvGrpSpPr>
              <a:grpSpLocks/>
            </p:cNvGrpSpPr>
            <p:nvPr/>
          </p:nvGrpSpPr>
          <p:grpSpPr bwMode="auto">
            <a:xfrm>
              <a:off x="620" y="3300"/>
              <a:ext cx="81" cy="129"/>
              <a:chOff x="826" y="3127"/>
              <a:chExt cx="117" cy="186"/>
            </a:xfrm>
          </p:grpSpPr>
          <p:sp>
            <p:nvSpPr>
              <p:cNvPr id="5324" name="Freeform 257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25" name="Freeform 257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26" name="Freeform 257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27" name="Freeform 257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28" name="Freeform 257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67" name="Group 2579"/>
          <p:cNvGrpSpPr>
            <a:grpSpLocks/>
          </p:cNvGrpSpPr>
          <p:nvPr/>
        </p:nvGrpSpPr>
        <p:grpSpPr bwMode="auto">
          <a:xfrm>
            <a:off x="2992438" y="4321175"/>
            <a:ext cx="222250" cy="249238"/>
            <a:chOff x="503" y="3300"/>
            <a:chExt cx="198" cy="157"/>
          </a:xfrm>
        </p:grpSpPr>
        <p:grpSp>
          <p:nvGrpSpPr>
            <p:cNvPr id="5310" name="Group 2580"/>
            <p:cNvGrpSpPr>
              <a:grpSpLocks/>
            </p:cNvGrpSpPr>
            <p:nvPr/>
          </p:nvGrpSpPr>
          <p:grpSpPr bwMode="auto">
            <a:xfrm>
              <a:off x="503" y="3328"/>
              <a:ext cx="81" cy="129"/>
              <a:chOff x="826" y="3127"/>
              <a:chExt cx="117" cy="186"/>
            </a:xfrm>
          </p:grpSpPr>
          <p:sp>
            <p:nvSpPr>
              <p:cNvPr id="5317" name="Freeform 258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18" name="Freeform 258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19" name="Freeform 258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20" name="Freeform 258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21" name="Freeform 258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311" name="Group 2586"/>
            <p:cNvGrpSpPr>
              <a:grpSpLocks/>
            </p:cNvGrpSpPr>
            <p:nvPr/>
          </p:nvGrpSpPr>
          <p:grpSpPr bwMode="auto">
            <a:xfrm>
              <a:off x="620" y="3300"/>
              <a:ext cx="81" cy="129"/>
              <a:chOff x="826" y="3127"/>
              <a:chExt cx="117" cy="186"/>
            </a:xfrm>
          </p:grpSpPr>
          <p:sp>
            <p:nvSpPr>
              <p:cNvPr id="5312" name="Freeform 258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13" name="Freeform 258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14" name="Freeform 258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15" name="Freeform 259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16" name="Freeform 259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80" name="Group 2592"/>
          <p:cNvGrpSpPr>
            <a:grpSpLocks/>
          </p:cNvGrpSpPr>
          <p:nvPr/>
        </p:nvGrpSpPr>
        <p:grpSpPr bwMode="auto">
          <a:xfrm>
            <a:off x="4392613" y="3698875"/>
            <a:ext cx="222250" cy="249238"/>
            <a:chOff x="503" y="3300"/>
            <a:chExt cx="198" cy="157"/>
          </a:xfrm>
        </p:grpSpPr>
        <p:grpSp>
          <p:nvGrpSpPr>
            <p:cNvPr id="5298" name="Group 2593"/>
            <p:cNvGrpSpPr>
              <a:grpSpLocks/>
            </p:cNvGrpSpPr>
            <p:nvPr/>
          </p:nvGrpSpPr>
          <p:grpSpPr bwMode="auto">
            <a:xfrm>
              <a:off x="503" y="3328"/>
              <a:ext cx="81" cy="129"/>
              <a:chOff x="826" y="3127"/>
              <a:chExt cx="117" cy="186"/>
            </a:xfrm>
          </p:grpSpPr>
          <p:sp>
            <p:nvSpPr>
              <p:cNvPr id="5305" name="Freeform 259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6" name="Freeform 259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7" name="Freeform 259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8" name="Freeform 259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9" name="Freeform 259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99" name="Group 2599"/>
            <p:cNvGrpSpPr>
              <a:grpSpLocks/>
            </p:cNvGrpSpPr>
            <p:nvPr/>
          </p:nvGrpSpPr>
          <p:grpSpPr bwMode="auto">
            <a:xfrm>
              <a:off x="620" y="3300"/>
              <a:ext cx="81" cy="129"/>
              <a:chOff x="826" y="3127"/>
              <a:chExt cx="117" cy="186"/>
            </a:xfrm>
          </p:grpSpPr>
          <p:sp>
            <p:nvSpPr>
              <p:cNvPr id="5300" name="Freeform 260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1" name="Freeform 260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2" name="Freeform 260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3" name="Freeform 260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04" name="Freeform 260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093" name="Group 2605"/>
          <p:cNvGrpSpPr>
            <a:grpSpLocks/>
          </p:cNvGrpSpPr>
          <p:nvPr/>
        </p:nvGrpSpPr>
        <p:grpSpPr bwMode="auto">
          <a:xfrm>
            <a:off x="4481513" y="3608388"/>
            <a:ext cx="222250" cy="204787"/>
            <a:chOff x="503" y="3300"/>
            <a:chExt cx="198" cy="157"/>
          </a:xfrm>
        </p:grpSpPr>
        <p:grpSp>
          <p:nvGrpSpPr>
            <p:cNvPr id="5286" name="Group 2606"/>
            <p:cNvGrpSpPr>
              <a:grpSpLocks/>
            </p:cNvGrpSpPr>
            <p:nvPr/>
          </p:nvGrpSpPr>
          <p:grpSpPr bwMode="auto">
            <a:xfrm>
              <a:off x="503" y="3328"/>
              <a:ext cx="81" cy="129"/>
              <a:chOff x="826" y="3127"/>
              <a:chExt cx="117" cy="186"/>
            </a:xfrm>
          </p:grpSpPr>
          <p:sp>
            <p:nvSpPr>
              <p:cNvPr id="5293" name="Freeform 260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4" name="Freeform 260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5" name="Freeform 260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6" name="Freeform 261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7" name="Freeform 261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87" name="Group 2612"/>
            <p:cNvGrpSpPr>
              <a:grpSpLocks/>
            </p:cNvGrpSpPr>
            <p:nvPr/>
          </p:nvGrpSpPr>
          <p:grpSpPr bwMode="auto">
            <a:xfrm>
              <a:off x="620" y="3300"/>
              <a:ext cx="81" cy="129"/>
              <a:chOff x="826" y="3127"/>
              <a:chExt cx="117" cy="186"/>
            </a:xfrm>
          </p:grpSpPr>
          <p:sp>
            <p:nvSpPr>
              <p:cNvPr id="5288" name="Freeform 2613"/>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89" name="Freeform 2614"/>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0" name="Freeform 2615"/>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1" name="Freeform 2616"/>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92" name="Freeform 2617"/>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106" name="Group 2618"/>
          <p:cNvGrpSpPr>
            <a:grpSpLocks/>
          </p:cNvGrpSpPr>
          <p:nvPr/>
        </p:nvGrpSpPr>
        <p:grpSpPr bwMode="auto">
          <a:xfrm>
            <a:off x="2657475" y="4059238"/>
            <a:ext cx="654050" cy="565150"/>
            <a:chOff x="2061" y="1876"/>
            <a:chExt cx="412" cy="356"/>
          </a:xfrm>
        </p:grpSpPr>
        <p:grpSp>
          <p:nvGrpSpPr>
            <p:cNvPr id="5262" name="Group 2619"/>
            <p:cNvGrpSpPr>
              <a:grpSpLocks/>
            </p:cNvGrpSpPr>
            <p:nvPr/>
          </p:nvGrpSpPr>
          <p:grpSpPr bwMode="auto">
            <a:xfrm>
              <a:off x="2275" y="2103"/>
              <a:ext cx="81" cy="129"/>
              <a:chOff x="826" y="3127"/>
              <a:chExt cx="117" cy="186"/>
            </a:xfrm>
          </p:grpSpPr>
          <p:sp>
            <p:nvSpPr>
              <p:cNvPr id="5281" name="Freeform 262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82" name="Freeform 262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83" name="Freeform 262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84" name="Freeform 262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85" name="Freeform 262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63" name="Group 2625"/>
            <p:cNvGrpSpPr>
              <a:grpSpLocks/>
            </p:cNvGrpSpPr>
            <p:nvPr/>
          </p:nvGrpSpPr>
          <p:grpSpPr bwMode="auto">
            <a:xfrm>
              <a:off x="2061" y="1876"/>
              <a:ext cx="81" cy="129"/>
              <a:chOff x="826" y="3127"/>
              <a:chExt cx="117" cy="186"/>
            </a:xfrm>
          </p:grpSpPr>
          <p:sp>
            <p:nvSpPr>
              <p:cNvPr id="5276" name="Freeform 262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7" name="Freeform 262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8" name="Freeform 262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9" name="Freeform 262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80" name="Freeform 263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64" name="Group 2631"/>
            <p:cNvGrpSpPr>
              <a:grpSpLocks/>
            </p:cNvGrpSpPr>
            <p:nvPr/>
          </p:nvGrpSpPr>
          <p:grpSpPr bwMode="auto">
            <a:xfrm>
              <a:off x="2158" y="1990"/>
              <a:ext cx="81" cy="129"/>
              <a:chOff x="826" y="3127"/>
              <a:chExt cx="117" cy="186"/>
            </a:xfrm>
          </p:grpSpPr>
          <p:sp>
            <p:nvSpPr>
              <p:cNvPr id="5271" name="Freeform 263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2" name="Freeform 263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3" name="Freeform 263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4" name="Freeform 263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5" name="Freeform 263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65" name="Group 2637"/>
            <p:cNvGrpSpPr>
              <a:grpSpLocks/>
            </p:cNvGrpSpPr>
            <p:nvPr/>
          </p:nvGrpSpPr>
          <p:grpSpPr bwMode="auto">
            <a:xfrm>
              <a:off x="2392" y="2103"/>
              <a:ext cx="81" cy="129"/>
              <a:chOff x="826" y="3127"/>
              <a:chExt cx="117" cy="186"/>
            </a:xfrm>
          </p:grpSpPr>
          <p:sp>
            <p:nvSpPr>
              <p:cNvPr id="5266" name="Freeform 2638"/>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67" name="Freeform 2639"/>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68" name="Freeform 2640"/>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69" name="Freeform 2641"/>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70" name="Freeform 2642"/>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131" name="Group 2643"/>
          <p:cNvGrpSpPr>
            <a:grpSpLocks/>
          </p:cNvGrpSpPr>
          <p:nvPr/>
        </p:nvGrpSpPr>
        <p:grpSpPr bwMode="auto">
          <a:xfrm>
            <a:off x="4211638" y="4059238"/>
            <a:ext cx="654050" cy="565150"/>
            <a:chOff x="2061" y="1876"/>
            <a:chExt cx="412" cy="356"/>
          </a:xfrm>
        </p:grpSpPr>
        <p:grpSp>
          <p:nvGrpSpPr>
            <p:cNvPr id="5238" name="Group 2644"/>
            <p:cNvGrpSpPr>
              <a:grpSpLocks/>
            </p:cNvGrpSpPr>
            <p:nvPr/>
          </p:nvGrpSpPr>
          <p:grpSpPr bwMode="auto">
            <a:xfrm>
              <a:off x="2275" y="2103"/>
              <a:ext cx="81" cy="129"/>
              <a:chOff x="826" y="3127"/>
              <a:chExt cx="117" cy="186"/>
            </a:xfrm>
          </p:grpSpPr>
          <p:sp>
            <p:nvSpPr>
              <p:cNvPr id="5257" name="Freeform 264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8" name="Freeform 264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9" name="Freeform 264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60" name="Freeform 264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61" name="Freeform 264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39" name="Group 2650"/>
            <p:cNvGrpSpPr>
              <a:grpSpLocks/>
            </p:cNvGrpSpPr>
            <p:nvPr/>
          </p:nvGrpSpPr>
          <p:grpSpPr bwMode="auto">
            <a:xfrm>
              <a:off x="2061" y="1876"/>
              <a:ext cx="81" cy="129"/>
              <a:chOff x="826" y="3127"/>
              <a:chExt cx="117" cy="186"/>
            </a:xfrm>
          </p:grpSpPr>
          <p:sp>
            <p:nvSpPr>
              <p:cNvPr id="5252" name="Freeform 265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3" name="Freeform 265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4" name="Freeform 265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5" name="Freeform 265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6" name="Freeform 265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40" name="Group 2656"/>
            <p:cNvGrpSpPr>
              <a:grpSpLocks/>
            </p:cNvGrpSpPr>
            <p:nvPr/>
          </p:nvGrpSpPr>
          <p:grpSpPr bwMode="auto">
            <a:xfrm>
              <a:off x="2158" y="1990"/>
              <a:ext cx="81" cy="129"/>
              <a:chOff x="826" y="3127"/>
              <a:chExt cx="117" cy="186"/>
            </a:xfrm>
          </p:grpSpPr>
          <p:sp>
            <p:nvSpPr>
              <p:cNvPr id="5247" name="Freeform 265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48" name="Freeform 265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49" name="Freeform 265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0" name="Freeform 266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51" name="Freeform 266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41" name="Group 2662"/>
            <p:cNvGrpSpPr>
              <a:grpSpLocks/>
            </p:cNvGrpSpPr>
            <p:nvPr/>
          </p:nvGrpSpPr>
          <p:grpSpPr bwMode="auto">
            <a:xfrm>
              <a:off x="2392" y="2103"/>
              <a:ext cx="81" cy="129"/>
              <a:chOff x="826" y="3127"/>
              <a:chExt cx="117" cy="186"/>
            </a:xfrm>
          </p:grpSpPr>
          <p:sp>
            <p:nvSpPr>
              <p:cNvPr id="5242" name="Freeform 2663"/>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43" name="Freeform 2664"/>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44" name="Freeform 2665"/>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45" name="Freeform 2666"/>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46" name="Freeform 2667"/>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156" name="Group 2668"/>
          <p:cNvGrpSpPr>
            <a:grpSpLocks/>
          </p:cNvGrpSpPr>
          <p:nvPr/>
        </p:nvGrpSpPr>
        <p:grpSpPr bwMode="auto">
          <a:xfrm>
            <a:off x="4797425" y="4079875"/>
            <a:ext cx="314325" cy="249238"/>
            <a:chOff x="503" y="3300"/>
            <a:chExt cx="198" cy="157"/>
          </a:xfrm>
        </p:grpSpPr>
        <p:grpSp>
          <p:nvGrpSpPr>
            <p:cNvPr id="5226" name="Group 2669"/>
            <p:cNvGrpSpPr>
              <a:grpSpLocks/>
            </p:cNvGrpSpPr>
            <p:nvPr/>
          </p:nvGrpSpPr>
          <p:grpSpPr bwMode="auto">
            <a:xfrm>
              <a:off x="503" y="3328"/>
              <a:ext cx="81" cy="129"/>
              <a:chOff x="826" y="3127"/>
              <a:chExt cx="117" cy="186"/>
            </a:xfrm>
          </p:grpSpPr>
          <p:sp>
            <p:nvSpPr>
              <p:cNvPr id="5233" name="Freeform 267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4" name="Freeform 267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5" name="Freeform 267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6" name="Freeform 267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7" name="Freeform 267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27" name="Group 2675"/>
            <p:cNvGrpSpPr>
              <a:grpSpLocks/>
            </p:cNvGrpSpPr>
            <p:nvPr/>
          </p:nvGrpSpPr>
          <p:grpSpPr bwMode="auto">
            <a:xfrm>
              <a:off x="620" y="3300"/>
              <a:ext cx="81" cy="129"/>
              <a:chOff x="826" y="3127"/>
              <a:chExt cx="117" cy="186"/>
            </a:xfrm>
          </p:grpSpPr>
          <p:sp>
            <p:nvSpPr>
              <p:cNvPr id="5228" name="Freeform 267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29" name="Freeform 267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0" name="Freeform 267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1" name="Freeform 267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32" name="Freeform 268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169" name="Group 2681"/>
          <p:cNvGrpSpPr>
            <a:grpSpLocks/>
          </p:cNvGrpSpPr>
          <p:nvPr/>
        </p:nvGrpSpPr>
        <p:grpSpPr bwMode="auto">
          <a:xfrm>
            <a:off x="4437063" y="3795713"/>
            <a:ext cx="314325" cy="249237"/>
            <a:chOff x="503" y="3300"/>
            <a:chExt cx="198" cy="157"/>
          </a:xfrm>
        </p:grpSpPr>
        <p:grpSp>
          <p:nvGrpSpPr>
            <p:cNvPr id="5214" name="Group 2682"/>
            <p:cNvGrpSpPr>
              <a:grpSpLocks/>
            </p:cNvGrpSpPr>
            <p:nvPr/>
          </p:nvGrpSpPr>
          <p:grpSpPr bwMode="auto">
            <a:xfrm>
              <a:off x="503" y="3328"/>
              <a:ext cx="81" cy="129"/>
              <a:chOff x="826" y="3127"/>
              <a:chExt cx="117" cy="186"/>
            </a:xfrm>
          </p:grpSpPr>
          <p:sp>
            <p:nvSpPr>
              <p:cNvPr id="5221" name="Freeform 2683"/>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22" name="Freeform 2684"/>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23" name="Freeform 2685"/>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24" name="Freeform 2686"/>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25" name="Freeform 2687"/>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15" name="Group 2688"/>
            <p:cNvGrpSpPr>
              <a:grpSpLocks/>
            </p:cNvGrpSpPr>
            <p:nvPr/>
          </p:nvGrpSpPr>
          <p:grpSpPr bwMode="auto">
            <a:xfrm>
              <a:off x="620" y="3300"/>
              <a:ext cx="81" cy="129"/>
              <a:chOff x="826" y="3127"/>
              <a:chExt cx="117" cy="186"/>
            </a:xfrm>
          </p:grpSpPr>
          <p:sp>
            <p:nvSpPr>
              <p:cNvPr id="5216" name="Freeform 2689"/>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7" name="Freeform 2690"/>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8" name="Freeform 2691"/>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9" name="Freeform 2692"/>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20" name="Freeform 2693"/>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182" name="Group 2694"/>
          <p:cNvGrpSpPr>
            <a:grpSpLocks/>
          </p:cNvGrpSpPr>
          <p:nvPr/>
        </p:nvGrpSpPr>
        <p:grpSpPr bwMode="auto">
          <a:xfrm>
            <a:off x="3041650" y="4079875"/>
            <a:ext cx="314325" cy="249238"/>
            <a:chOff x="503" y="3300"/>
            <a:chExt cx="198" cy="157"/>
          </a:xfrm>
        </p:grpSpPr>
        <p:grpSp>
          <p:nvGrpSpPr>
            <p:cNvPr id="5202" name="Group 2695"/>
            <p:cNvGrpSpPr>
              <a:grpSpLocks/>
            </p:cNvGrpSpPr>
            <p:nvPr/>
          </p:nvGrpSpPr>
          <p:grpSpPr bwMode="auto">
            <a:xfrm>
              <a:off x="503" y="3328"/>
              <a:ext cx="81" cy="129"/>
              <a:chOff x="826" y="3127"/>
              <a:chExt cx="117" cy="186"/>
            </a:xfrm>
          </p:grpSpPr>
          <p:sp>
            <p:nvSpPr>
              <p:cNvPr id="5209" name="Freeform 2696"/>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0" name="Freeform 2697"/>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1" name="Freeform 2698"/>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2" name="Freeform 2699"/>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13" name="Freeform 2700"/>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203" name="Group 2701"/>
            <p:cNvGrpSpPr>
              <a:grpSpLocks/>
            </p:cNvGrpSpPr>
            <p:nvPr/>
          </p:nvGrpSpPr>
          <p:grpSpPr bwMode="auto">
            <a:xfrm>
              <a:off x="620" y="3300"/>
              <a:ext cx="81" cy="129"/>
              <a:chOff x="826" y="3127"/>
              <a:chExt cx="117" cy="186"/>
            </a:xfrm>
          </p:grpSpPr>
          <p:sp>
            <p:nvSpPr>
              <p:cNvPr id="5204" name="Freeform 270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05" name="Freeform 270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06" name="Freeform 270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07" name="Freeform 270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08" name="Freeform 270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202" name="Group 2714"/>
          <p:cNvGrpSpPr>
            <a:grpSpLocks/>
          </p:cNvGrpSpPr>
          <p:nvPr/>
        </p:nvGrpSpPr>
        <p:grpSpPr bwMode="auto">
          <a:xfrm>
            <a:off x="4416425" y="3808413"/>
            <a:ext cx="128588" cy="204787"/>
            <a:chOff x="826" y="3127"/>
            <a:chExt cx="117" cy="186"/>
          </a:xfrm>
        </p:grpSpPr>
        <p:sp>
          <p:nvSpPr>
            <p:cNvPr id="5197" name="Freeform 2715"/>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8" name="Freeform 2716"/>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9" name="Freeform 2717"/>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00" name="Freeform 2718"/>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201" name="Freeform 2719"/>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50208" name="Group 2720"/>
          <p:cNvGrpSpPr>
            <a:grpSpLocks/>
          </p:cNvGrpSpPr>
          <p:nvPr/>
        </p:nvGrpSpPr>
        <p:grpSpPr bwMode="auto">
          <a:xfrm>
            <a:off x="6281738" y="4035425"/>
            <a:ext cx="500062" cy="384175"/>
            <a:chOff x="782" y="2706"/>
            <a:chExt cx="315" cy="242"/>
          </a:xfrm>
        </p:grpSpPr>
        <p:grpSp>
          <p:nvGrpSpPr>
            <p:cNvPr id="5179" name="Group 2721"/>
            <p:cNvGrpSpPr>
              <a:grpSpLocks/>
            </p:cNvGrpSpPr>
            <p:nvPr/>
          </p:nvGrpSpPr>
          <p:grpSpPr bwMode="auto">
            <a:xfrm>
              <a:off x="899" y="2819"/>
              <a:ext cx="81" cy="129"/>
              <a:chOff x="826" y="3127"/>
              <a:chExt cx="117" cy="186"/>
            </a:xfrm>
          </p:grpSpPr>
          <p:sp>
            <p:nvSpPr>
              <p:cNvPr id="5192" name="Freeform 2722"/>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3" name="Freeform 2723"/>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4" name="Freeform 2724"/>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5" name="Freeform 2725"/>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6" name="Freeform 2726"/>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180" name="Group 2727"/>
            <p:cNvGrpSpPr>
              <a:grpSpLocks/>
            </p:cNvGrpSpPr>
            <p:nvPr/>
          </p:nvGrpSpPr>
          <p:grpSpPr bwMode="auto">
            <a:xfrm>
              <a:off x="782" y="2706"/>
              <a:ext cx="81" cy="129"/>
              <a:chOff x="826" y="3127"/>
              <a:chExt cx="117" cy="186"/>
            </a:xfrm>
          </p:grpSpPr>
          <p:sp>
            <p:nvSpPr>
              <p:cNvPr id="5187" name="Freeform 2728"/>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88" name="Freeform 2729"/>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89" name="Freeform 2730"/>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0" name="Freeform 2731"/>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91" name="Freeform 2732"/>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181" name="Group 2733"/>
            <p:cNvGrpSpPr>
              <a:grpSpLocks/>
            </p:cNvGrpSpPr>
            <p:nvPr/>
          </p:nvGrpSpPr>
          <p:grpSpPr bwMode="auto">
            <a:xfrm>
              <a:off x="1016" y="2819"/>
              <a:ext cx="81" cy="129"/>
              <a:chOff x="826" y="3127"/>
              <a:chExt cx="117" cy="186"/>
            </a:xfrm>
          </p:grpSpPr>
          <p:sp>
            <p:nvSpPr>
              <p:cNvPr id="5182" name="Freeform 2734"/>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83" name="Freeform 2735"/>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84" name="Freeform 2736"/>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85" name="Freeform 2737"/>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86" name="Freeform 2738"/>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227" name="Group 2739"/>
          <p:cNvGrpSpPr>
            <a:grpSpLocks/>
          </p:cNvGrpSpPr>
          <p:nvPr/>
        </p:nvGrpSpPr>
        <p:grpSpPr bwMode="auto">
          <a:xfrm>
            <a:off x="6911975" y="5610225"/>
            <a:ext cx="314325" cy="249238"/>
            <a:chOff x="503" y="3300"/>
            <a:chExt cx="198" cy="157"/>
          </a:xfrm>
        </p:grpSpPr>
        <p:grpSp>
          <p:nvGrpSpPr>
            <p:cNvPr id="5167" name="Group 2740"/>
            <p:cNvGrpSpPr>
              <a:grpSpLocks/>
            </p:cNvGrpSpPr>
            <p:nvPr/>
          </p:nvGrpSpPr>
          <p:grpSpPr bwMode="auto">
            <a:xfrm>
              <a:off x="503" y="3328"/>
              <a:ext cx="81" cy="129"/>
              <a:chOff x="826" y="3127"/>
              <a:chExt cx="117" cy="186"/>
            </a:xfrm>
          </p:grpSpPr>
          <p:sp>
            <p:nvSpPr>
              <p:cNvPr id="5174" name="Freeform 2741"/>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5" name="Freeform 2742"/>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6" name="Freeform 2743"/>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7" name="Freeform 2744"/>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8" name="Freeform 2745"/>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168" name="Group 2746"/>
            <p:cNvGrpSpPr>
              <a:grpSpLocks/>
            </p:cNvGrpSpPr>
            <p:nvPr/>
          </p:nvGrpSpPr>
          <p:grpSpPr bwMode="auto">
            <a:xfrm>
              <a:off x="620" y="3300"/>
              <a:ext cx="81" cy="129"/>
              <a:chOff x="826" y="3127"/>
              <a:chExt cx="117" cy="186"/>
            </a:xfrm>
          </p:grpSpPr>
          <p:sp>
            <p:nvSpPr>
              <p:cNvPr id="5169" name="Freeform 2747"/>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0" name="Freeform 2748"/>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1" name="Freeform 2749"/>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2" name="Freeform 2750"/>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73" name="Freeform 2751"/>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grpSp>
        <p:nvGrpSpPr>
          <p:cNvPr id="450247" name="Group 2759"/>
          <p:cNvGrpSpPr>
            <a:grpSpLocks/>
          </p:cNvGrpSpPr>
          <p:nvPr/>
        </p:nvGrpSpPr>
        <p:grpSpPr bwMode="auto">
          <a:xfrm>
            <a:off x="4032250" y="4575175"/>
            <a:ext cx="128588" cy="204788"/>
            <a:chOff x="826" y="3127"/>
            <a:chExt cx="117" cy="186"/>
          </a:xfrm>
        </p:grpSpPr>
        <p:sp>
          <p:nvSpPr>
            <p:cNvPr id="5162" name="Freeform 2760"/>
            <p:cNvSpPr>
              <a:spLocks/>
            </p:cNvSpPr>
            <p:nvPr/>
          </p:nvSpPr>
          <p:spPr bwMode="auto">
            <a:xfrm>
              <a:off x="865" y="3127"/>
              <a:ext cx="16" cy="67"/>
            </a:xfrm>
            <a:custGeom>
              <a:avLst/>
              <a:gdLst>
                <a:gd name="T0" fmla="*/ 0 w 1257"/>
                <a:gd name="T1" fmla="*/ 0 h 5496"/>
                <a:gd name="T2" fmla="*/ 0 w 1257"/>
                <a:gd name="T3" fmla="*/ 0 h 5496"/>
                <a:gd name="T4" fmla="*/ 0 w 1257"/>
                <a:gd name="T5" fmla="*/ 0 h 5496"/>
                <a:gd name="T6" fmla="*/ 0 w 1257"/>
                <a:gd name="T7" fmla="*/ 0 h 54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57" h="5496">
                  <a:moveTo>
                    <a:pt x="0" y="0"/>
                  </a:moveTo>
                  <a:lnTo>
                    <a:pt x="765" y="5496"/>
                  </a:lnTo>
                  <a:lnTo>
                    <a:pt x="1257" y="5404"/>
                  </a:lnTo>
                  <a:lnTo>
                    <a:pt x="0"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63" name="Freeform 2761"/>
            <p:cNvSpPr>
              <a:spLocks/>
            </p:cNvSpPr>
            <p:nvPr/>
          </p:nvSpPr>
          <p:spPr bwMode="auto">
            <a:xfrm>
              <a:off x="826" y="3193"/>
              <a:ext cx="53" cy="47"/>
            </a:xfrm>
            <a:custGeom>
              <a:avLst/>
              <a:gdLst>
                <a:gd name="T0" fmla="*/ 0 w 4382"/>
                <a:gd name="T1" fmla="*/ 0 h 3791"/>
                <a:gd name="T2" fmla="*/ 0 w 4382"/>
                <a:gd name="T3" fmla="*/ 0 h 3791"/>
                <a:gd name="T4" fmla="*/ 0 w 4382"/>
                <a:gd name="T5" fmla="*/ 0 h 3791"/>
                <a:gd name="T6" fmla="*/ 0 w 4382"/>
                <a:gd name="T7" fmla="*/ 0 h 37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82" h="3791">
                  <a:moveTo>
                    <a:pt x="0" y="3791"/>
                  </a:moveTo>
                  <a:lnTo>
                    <a:pt x="4382" y="381"/>
                  </a:lnTo>
                  <a:lnTo>
                    <a:pt x="4056" y="0"/>
                  </a:lnTo>
                  <a:lnTo>
                    <a:pt x="0" y="3791"/>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64" name="Freeform 2762"/>
            <p:cNvSpPr>
              <a:spLocks/>
            </p:cNvSpPr>
            <p:nvPr/>
          </p:nvSpPr>
          <p:spPr bwMode="auto">
            <a:xfrm>
              <a:off x="878" y="3192"/>
              <a:ext cx="65" cy="23"/>
            </a:xfrm>
            <a:custGeom>
              <a:avLst/>
              <a:gdLst>
                <a:gd name="T0" fmla="*/ 0 w 5368"/>
                <a:gd name="T1" fmla="*/ 0 h 1900"/>
                <a:gd name="T2" fmla="*/ 0 w 5368"/>
                <a:gd name="T3" fmla="*/ 0 h 1900"/>
                <a:gd name="T4" fmla="*/ 0 w 5368"/>
                <a:gd name="T5" fmla="*/ 0 h 1900"/>
                <a:gd name="T6" fmla="*/ 0 w 5368"/>
                <a:gd name="T7" fmla="*/ 0 h 19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68" h="1900">
                  <a:moveTo>
                    <a:pt x="0" y="478"/>
                  </a:moveTo>
                  <a:lnTo>
                    <a:pt x="5368" y="1900"/>
                  </a:lnTo>
                  <a:lnTo>
                    <a:pt x="150" y="0"/>
                  </a:lnTo>
                  <a:lnTo>
                    <a:pt x="0" y="47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65" name="Freeform 2763"/>
            <p:cNvSpPr>
              <a:spLocks/>
            </p:cNvSpPr>
            <p:nvPr/>
          </p:nvSpPr>
          <p:spPr bwMode="auto">
            <a:xfrm>
              <a:off x="873" y="3194"/>
              <a:ext cx="12" cy="119"/>
            </a:xfrm>
            <a:custGeom>
              <a:avLst/>
              <a:gdLst>
                <a:gd name="T0" fmla="*/ 0 w 954"/>
                <a:gd name="T1" fmla="*/ 0 h 9766"/>
                <a:gd name="T2" fmla="*/ 0 w 954"/>
                <a:gd name="T3" fmla="*/ 0 h 9766"/>
                <a:gd name="T4" fmla="*/ 0 w 954"/>
                <a:gd name="T5" fmla="*/ 0 h 9766"/>
                <a:gd name="T6" fmla="*/ 0 w 954"/>
                <a:gd name="T7" fmla="*/ 0 h 9766"/>
                <a:gd name="T8" fmla="*/ 0 w 954"/>
                <a:gd name="T9" fmla="*/ 0 h 97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4" h="9766">
                  <a:moveTo>
                    <a:pt x="212" y="0"/>
                  </a:moveTo>
                  <a:lnTo>
                    <a:pt x="0" y="9766"/>
                  </a:lnTo>
                  <a:lnTo>
                    <a:pt x="954" y="9739"/>
                  </a:lnTo>
                  <a:lnTo>
                    <a:pt x="637" y="0"/>
                  </a:lnTo>
                  <a:lnTo>
                    <a:pt x="21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66" name="Freeform 2764"/>
            <p:cNvSpPr>
              <a:spLocks/>
            </p:cNvSpPr>
            <p:nvPr/>
          </p:nvSpPr>
          <p:spPr bwMode="auto">
            <a:xfrm>
              <a:off x="874" y="3190"/>
              <a:ext cx="9" cy="9"/>
            </a:xfrm>
            <a:custGeom>
              <a:avLst/>
              <a:gdLst>
                <a:gd name="T0" fmla="*/ 0 w 779"/>
                <a:gd name="T1" fmla="*/ 0 h 778"/>
                <a:gd name="T2" fmla="*/ 0 w 779"/>
                <a:gd name="T3" fmla="*/ 0 h 778"/>
                <a:gd name="T4" fmla="*/ 0 w 779"/>
                <a:gd name="T5" fmla="*/ 0 h 778"/>
                <a:gd name="T6" fmla="*/ 0 w 779"/>
                <a:gd name="T7" fmla="*/ 0 h 778"/>
                <a:gd name="T8" fmla="*/ 0 w 779"/>
                <a:gd name="T9" fmla="*/ 0 h 778"/>
                <a:gd name="T10" fmla="*/ 0 w 779"/>
                <a:gd name="T11" fmla="*/ 0 h 778"/>
                <a:gd name="T12" fmla="*/ 0 w 779"/>
                <a:gd name="T13" fmla="*/ 0 h 778"/>
                <a:gd name="T14" fmla="*/ 0 w 779"/>
                <a:gd name="T15" fmla="*/ 0 h 778"/>
                <a:gd name="T16" fmla="*/ 0 w 779"/>
                <a:gd name="T17" fmla="*/ 0 h 778"/>
                <a:gd name="T18" fmla="*/ 0 w 779"/>
                <a:gd name="T19" fmla="*/ 0 h 778"/>
                <a:gd name="T20" fmla="*/ 0 w 779"/>
                <a:gd name="T21" fmla="*/ 0 h 778"/>
                <a:gd name="T22" fmla="*/ 0 w 779"/>
                <a:gd name="T23" fmla="*/ 0 h 778"/>
                <a:gd name="T24" fmla="*/ 0 w 779"/>
                <a:gd name="T25" fmla="*/ 0 h 778"/>
                <a:gd name="T26" fmla="*/ 0 w 779"/>
                <a:gd name="T27" fmla="*/ 0 h 778"/>
                <a:gd name="T28" fmla="*/ 0 w 779"/>
                <a:gd name="T29" fmla="*/ 0 h 778"/>
                <a:gd name="T30" fmla="*/ 0 w 779"/>
                <a:gd name="T31" fmla="*/ 0 h 778"/>
                <a:gd name="T32" fmla="*/ 0 w 779"/>
                <a:gd name="T33" fmla="*/ 0 h 778"/>
                <a:gd name="T34" fmla="*/ 0 w 779"/>
                <a:gd name="T35" fmla="*/ 0 h 778"/>
                <a:gd name="T36" fmla="*/ 0 w 779"/>
                <a:gd name="T37" fmla="*/ 0 h 778"/>
                <a:gd name="T38" fmla="*/ 0 w 779"/>
                <a:gd name="T39" fmla="*/ 0 h 778"/>
                <a:gd name="T40" fmla="*/ 0 w 779"/>
                <a:gd name="T41" fmla="*/ 0 h 778"/>
                <a:gd name="T42" fmla="*/ 0 w 779"/>
                <a:gd name="T43" fmla="*/ 0 h 778"/>
                <a:gd name="T44" fmla="*/ 0 w 779"/>
                <a:gd name="T45" fmla="*/ 0 h 778"/>
                <a:gd name="T46" fmla="*/ 0 w 779"/>
                <a:gd name="T47" fmla="*/ 0 h 778"/>
                <a:gd name="T48" fmla="*/ 0 w 779"/>
                <a:gd name="T49" fmla="*/ 0 h 778"/>
                <a:gd name="T50" fmla="*/ 0 w 779"/>
                <a:gd name="T51" fmla="*/ 0 h 778"/>
                <a:gd name="T52" fmla="*/ 0 w 779"/>
                <a:gd name="T53" fmla="*/ 0 h 778"/>
                <a:gd name="T54" fmla="*/ 0 w 779"/>
                <a:gd name="T55" fmla="*/ 0 h 778"/>
                <a:gd name="T56" fmla="*/ 0 w 779"/>
                <a:gd name="T57" fmla="*/ 0 h 778"/>
                <a:gd name="T58" fmla="*/ 0 w 779"/>
                <a:gd name="T59" fmla="*/ 0 h 778"/>
                <a:gd name="T60" fmla="*/ 0 w 779"/>
                <a:gd name="T61" fmla="*/ 0 h 778"/>
                <a:gd name="T62" fmla="*/ 0 w 779"/>
                <a:gd name="T63" fmla="*/ 0 h 778"/>
                <a:gd name="T64" fmla="*/ 0 w 779"/>
                <a:gd name="T65" fmla="*/ 0 h 778"/>
                <a:gd name="T66" fmla="*/ 0 w 779"/>
                <a:gd name="T67" fmla="*/ 0 h 778"/>
                <a:gd name="T68" fmla="*/ 0 w 779"/>
                <a:gd name="T69" fmla="*/ 0 h 778"/>
                <a:gd name="T70" fmla="*/ 0 w 779"/>
                <a:gd name="T71" fmla="*/ 0 h 778"/>
                <a:gd name="T72" fmla="*/ 0 w 779"/>
                <a:gd name="T73" fmla="*/ 0 h 778"/>
                <a:gd name="T74" fmla="*/ 0 w 779"/>
                <a:gd name="T75" fmla="*/ 0 h 778"/>
                <a:gd name="T76" fmla="*/ 0 w 779"/>
                <a:gd name="T77" fmla="*/ 0 h 778"/>
                <a:gd name="T78" fmla="*/ 0 w 779"/>
                <a:gd name="T79" fmla="*/ 0 h 778"/>
                <a:gd name="T80" fmla="*/ 0 w 779"/>
                <a:gd name="T81" fmla="*/ 0 h 778"/>
                <a:gd name="T82" fmla="*/ 0 w 779"/>
                <a:gd name="T83" fmla="*/ 0 h 778"/>
                <a:gd name="T84" fmla="*/ 0 w 779"/>
                <a:gd name="T85" fmla="*/ 0 h 7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79" h="778">
                  <a:moveTo>
                    <a:pt x="0" y="390"/>
                  </a:moveTo>
                  <a:lnTo>
                    <a:pt x="0" y="410"/>
                  </a:lnTo>
                  <a:lnTo>
                    <a:pt x="2" y="429"/>
                  </a:lnTo>
                  <a:lnTo>
                    <a:pt x="4" y="448"/>
                  </a:lnTo>
                  <a:lnTo>
                    <a:pt x="8" y="468"/>
                  </a:lnTo>
                  <a:lnTo>
                    <a:pt x="12" y="486"/>
                  </a:lnTo>
                  <a:lnTo>
                    <a:pt x="17" y="505"/>
                  </a:lnTo>
                  <a:lnTo>
                    <a:pt x="24" y="523"/>
                  </a:lnTo>
                  <a:lnTo>
                    <a:pt x="31" y="541"/>
                  </a:lnTo>
                  <a:lnTo>
                    <a:pt x="39" y="558"/>
                  </a:lnTo>
                  <a:lnTo>
                    <a:pt x="48" y="575"/>
                  </a:lnTo>
                  <a:lnTo>
                    <a:pt x="57" y="591"/>
                  </a:lnTo>
                  <a:lnTo>
                    <a:pt x="67" y="607"/>
                  </a:lnTo>
                  <a:lnTo>
                    <a:pt x="78" y="622"/>
                  </a:lnTo>
                  <a:lnTo>
                    <a:pt x="89" y="636"/>
                  </a:lnTo>
                  <a:lnTo>
                    <a:pt x="101" y="650"/>
                  </a:lnTo>
                  <a:lnTo>
                    <a:pt x="114" y="664"/>
                  </a:lnTo>
                  <a:lnTo>
                    <a:pt x="127" y="677"/>
                  </a:lnTo>
                  <a:lnTo>
                    <a:pt x="142" y="689"/>
                  </a:lnTo>
                  <a:lnTo>
                    <a:pt x="156" y="700"/>
                  </a:lnTo>
                  <a:lnTo>
                    <a:pt x="171" y="711"/>
                  </a:lnTo>
                  <a:lnTo>
                    <a:pt x="187" y="721"/>
                  </a:lnTo>
                  <a:lnTo>
                    <a:pt x="203" y="731"/>
                  </a:lnTo>
                  <a:lnTo>
                    <a:pt x="221" y="739"/>
                  </a:lnTo>
                  <a:lnTo>
                    <a:pt x="238" y="747"/>
                  </a:lnTo>
                  <a:lnTo>
                    <a:pt x="256" y="754"/>
                  </a:lnTo>
                  <a:lnTo>
                    <a:pt x="274" y="761"/>
                  </a:lnTo>
                  <a:lnTo>
                    <a:pt x="292" y="766"/>
                  </a:lnTo>
                  <a:lnTo>
                    <a:pt x="311" y="770"/>
                  </a:lnTo>
                  <a:lnTo>
                    <a:pt x="330" y="774"/>
                  </a:lnTo>
                  <a:lnTo>
                    <a:pt x="349" y="776"/>
                  </a:lnTo>
                  <a:lnTo>
                    <a:pt x="369" y="778"/>
                  </a:lnTo>
                  <a:lnTo>
                    <a:pt x="390" y="778"/>
                  </a:lnTo>
                  <a:lnTo>
                    <a:pt x="410" y="778"/>
                  </a:lnTo>
                  <a:lnTo>
                    <a:pt x="429" y="776"/>
                  </a:lnTo>
                  <a:lnTo>
                    <a:pt x="449" y="774"/>
                  </a:lnTo>
                  <a:lnTo>
                    <a:pt x="468" y="770"/>
                  </a:lnTo>
                  <a:lnTo>
                    <a:pt x="487" y="766"/>
                  </a:lnTo>
                  <a:lnTo>
                    <a:pt x="505" y="761"/>
                  </a:lnTo>
                  <a:lnTo>
                    <a:pt x="523" y="754"/>
                  </a:lnTo>
                  <a:lnTo>
                    <a:pt x="540" y="747"/>
                  </a:lnTo>
                  <a:lnTo>
                    <a:pt x="558" y="739"/>
                  </a:lnTo>
                  <a:lnTo>
                    <a:pt x="575" y="731"/>
                  </a:lnTo>
                  <a:lnTo>
                    <a:pt x="591" y="721"/>
                  </a:lnTo>
                  <a:lnTo>
                    <a:pt x="607" y="711"/>
                  </a:lnTo>
                  <a:lnTo>
                    <a:pt x="622" y="700"/>
                  </a:lnTo>
                  <a:lnTo>
                    <a:pt x="637" y="689"/>
                  </a:lnTo>
                  <a:lnTo>
                    <a:pt x="651" y="677"/>
                  </a:lnTo>
                  <a:lnTo>
                    <a:pt x="664" y="664"/>
                  </a:lnTo>
                  <a:lnTo>
                    <a:pt x="677" y="650"/>
                  </a:lnTo>
                  <a:lnTo>
                    <a:pt x="689" y="636"/>
                  </a:lnTo>
                  <a:lnTo>
                    <a:pt x="701" y="622"/>
                  </a:lnTo>
                  <a:lnTo>
                    <a:pt x="711" y="607"/>
                  </a:lnTo>
                  <a:lnTo>
                    <a:pt x="722" y="591"/>
                  </a:lnTo>
                  <a:lnTo>
                    <a:pt x="731" y="575"/>
                  </a:lnTo>
                  <a:lnTo>
                    <a:pt x="739" y="558"/>
                  </a:lnTo>
                  <a:lnTo>
                    <a:pt x="747" y="541"/>
                  </a:lnTo>
                  <a:lnTo>
                    <a:pt x="755" y="523"/>
                  </a:lnTo>
                  <a:lnTo>
                    <a:pt x="761" y="505"/>
                  </a:lnTo>
                  <a:lnTo>
                    <a:pt x="766" y="486"/>
                  </a:lnTo>
                  <a:lnTo>
                    <a:pt x="771" y="468"/>
                  </a:lnTo>
                  <a:lnTo>
                    <a:pt x="774" y="448"/>
                  </a:lnTo>
                  <a:lnTo>
                    <a:pt x="777" y="429"/>
                  </a:lnTo>
                  <a:lnTo>
                    <a:pt x="778" y="410"/>
                  </a:lnTo>
                  <a:lnTo>
                    <a:pt x="779" y="390"/>
                  </a:lnTo>
                  <a:lnTo>
                    <a:pt x="778" y="370"/>
                  </a:lnTo>
                  <a:lnTo>
                    <a:pt x="777" y="350"/>
                  </a:lnTo>
                  <a:lnTo>
                    <a:pt x="774" y="331"/>
                  </a:lnTo>
                  <a:lnTo>
                    <a:pt x="771" y="312"/>
                  </a:lnTo>
                  <a:lnTo>
                    <a:pt x="766" y="292"/>
                  </a:lnTo>
                  <a:lnTo>
                    <a:pt x="761" y="274"/>
                  </a:lnTo>
                  <a:lnTo>
                    <a:pt x="755" y="255"/>
                  </a:lnTo>
                  <a:lnTo>
                    <a:pt x="747" y="238"/>
                  </a:lnTo>
                  <a:lnTo>
                    <a:pt x="739" y="221"/>
                  </a:lnTo>
                  <a:lnTo>
                    <a:pt x="731" y="204"/>
                  </a:lnTo>
                  <a:lnTo>
                    <a:pt x="722" y="188"/>
                  </a:lnTo>
                  <a:lnTo>
                    <a:pt x="711" y="172"/>
                  </a:lnTo>
                  <a:lnTo>
                    <a:pt x="701" y="157"/>
                  </a:lnTo>
                  <a:lnTo>
                    <a:pt x="689" y="142"/>
                  </a:lnTo>
                  <a:lnTo>
                    <a:pt x="677" y="128"/>
                  </a:lnTo>
                  <a:lnTo>
                    <a:pt x="664" y="115"/>
                  </a:lnTo>
                  <a:lnTo>
                    <a:pt x="651" y="102"/>
                  </a:lnTo>
                  <a:lnTo>
                    <a:pt x="637" y="89"/>
                  </a:lnTo>
                  <a:lnTo>
                    <a:pt x="622" y="77"/>
                  </a:lnTo>
                  <a:lnTo>
                    <a:pt x="607" y="66"/>
                  </a:lnTo>
                  <a:lnTo>
                    <a:pt x="591" y="56"/>
                  </a:lnTo>
                  <a:lnTo>
                    <a:pt x="575" y="47"/>
                  </a:lnTo>
                  <a:lnTo>
                    <a:pt x="558" y="38"/>
                  </a:lnTo>
                  <a:lnTo>
                    <a:pt x="540" y="30"/>
                  </a:lnTo>
                  <a:lnTo>
                    <a:pt x="523" y="23"/>
                  </a:lnTo>
                  <a:lnTo>
                    <a:pt x="505" y="17"/>
                  </a:lnTo>
                  <a:lnTo>
                    <a:pt x="487" y="12"/>
                  </a:lnTo>
                  <a:lnTo>
                    <a:pt x="468" y="8"/>
                  </a:lnTo>
                  <a:lnTo>
                    <a:pt x="449" y="4"/>
                  </a:lnTo>
                  <a:lnTo>
                    <a:pt x="429" y="2"/>
                  </a:lnTo>
                  <a:lnTo>
                    <a:pt x="410" y="0"/>
                  </a:lnTo>
                  <a:lnTo>
                    <a:pt x="390" y="0"/>
                  </a:lnTo>
                  <a:lnTo>
                    <a:pt x="369" y="0"/>
                  </a:lnTo>
                  <a:lnTo>
                    <a:pt x="349" y="2"/>
                  </a:lnTo>
                  <a:lnTo>
                    <a:pt x="330" y="4"/>
                  </a:lnTo>
                  <a:lnTo>
                    <a:pt x="311" y="8"/>
                  </a:lnTo>
                  <a:lnTo>
                    <a:pt x="292" y="12"/>
                  </a:lnTo>
                  <a:lnTo>
                    <a:pt x="274" y="17"/>
                  </a:lnTo>
                  <a:lnTo>
                    <a:pt x="256" y="23"/>
                  </a:lnTo>
                  <a:lnTo>
                    <a:pt x="238" y="30"/>
                  </a:lnTo>
                  <a:lnTo>
                    <a:pt x="221" y="38"/>
                  </a:lnTo>
                  <a:lnTo>
                    <a:pt x="203" y="47"/>
                  </a:lnTo>
                  <a:lnTo>
                    <a:pt x="187" y="56"/>
                  </a:lnTo>
                  <a:lnTo>
                    <a:pt x="171" y="66"/>
                  </a:lnTo>
                  <a:lnTo>
                    <a:pt x="156" y="77"/>
                  </a:lnTo>
                  <a:lnTo>
                    <a:pt x="142" y="89"/>
                  </a:lnTo>
                  <a:lnTo>
                    <a:pt x="127" y="102"/>
                  </a:lnTo>
                  <a:lnTo>
                    <a:pt x="114" y="115"/>
                  </a:lnTo>
                  <a:lnTo>
                    <a:pt x="101" y="128"/>
                  </a:lnTo>
                  <a:lnTo>
                    <a:pt x="89" y="142"/>
                  </a:lnTo>
                  <a:lnTo>
                    <a:pt x="78" y="157"/>
                  </a:lnTo>
                  <a:lnTo>
                    <a:pt x="67" y="172"/>
                  </a:lnTo>
                  <a:lnTo>
                    <a:pt x="57" y="188"/>
                  </a:lnTo>
                  <a:lnTo>
                    <a:pt x="48" y="204"/>
                  </a:lnTo>
                  <a:lnTo>
                    <a:pt x="39" y="221"/>
                  </a:lnTo>
                  <a:lnTo>
                    <a:pt x="31" y="238"/>
                  </a:lnTo>
                  <a:lnTo>
                    <a:pt x="24" y="255"/>
                  </a:lnTo>
                  <a:lnTo>
                    <a:pt x="17" y="274"/>
                  </a:lnTo>
                  <a:lnTo>
                    <a:pt x="12" y="292"/>
                  </a:lnTo>
                  <a:lnTo>
                    <a:pt x="8" y="312"/>
                  </a:lnTo>
                  <a:lnTo>
                    <a:pt x="4" y="331"/>
                  </a:lnTo>
                  <a:lnTo>
                    <a:pt x="2" y="350"/>
                  </a:lnTo>
                  <a:lnTo>
                    <a:pt x="0" y="370"/>
                  </a:lnTo>
                  <a:lnTo>
                    <a:pt x="0" y="39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5161" name="Line 2766"/>
          <p:cNvSpPr>
            <a:spLocks noChangeShapeType="1"/>
          </p:cNvSpPr>
          <p:nvPr/>
        </p:nvSpPr>
        <p:spPr bwMode="auto">
          <a:xfrm>
            <a:off x="215900" y="6237288"/>
            <a:ext cx="8712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Tree>
    <p:extLst>
      <p:ext uri="{BB962C8B-B14F-4D97-AF65-F5344CB8AC3E}">
        <p14:creationId xmlns:p14="http://schemas.microsoft.com/office/powerpoint/2010/main" val="16969993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oter Placeholder 4"/>
          <p:cNvSpPr>
            <a:spLocks noGrp="1"/>
          </p:cNvSpPr>
          <p:nvPr>
            <p:ph type="ftr" sz="quarter" idx="11"/>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r>
              <a:rPr lang="en-GB" sz="900" smtClean="0"/>
              <a:t> Vestas </a:t>
            </a:r>
            <a:r>
              <a:rPr lang="pl-PL" sz="900" smtClean="0"/>
              <a:t>Poland</a:t>
            </a:r>
            <a:endParaRPr lang="en-GB" sz="900" smtClean="0"/>
          </a:p>
        </p:txBody>
      </p:sp>
      <p:sp>
        <p:nvSpPr>
          <p:cNvPr id="10243"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C22EBEF8-593D-4596-B6FC-CE6C91B0ABC1}" type="slidenum">
              <a:rPr lang="en-GB" sz="900" smtClean="0"/>
              <a:pPr eaLnBrk="1" hangingPunct="1"/>
              <a:t>5</a:t>
            </a:fld>
            <a:endParaRPr lang="en-GB" sz="900" smtClean="0"/>
          </a:p>
        </p:txBody>
      </p:sp>
      <p:sp>
        <p:nvSpPr>
          <p:cNvPr id="10244" name="Rectangle 2"/>
          <p:cNvSpPr>
            <a:spLocks noGrp="1" noChangeArrowheads="1"/>
          </p:cNvSpPr>
          <p:nvPr>
            <p:ph type="title"/>
          </p:nvPr>
        </p:nvSpPr>
        <p:spPr>
          <a:xfrm>
            <a:off x="215900" y="188913"/>
            <a:ext cx="8712200" cy="808037"/>
          </a:xfrm>
          <a:noFill/>
        </p:spPr>
        <p:txBody>
          <a:bodyPr/>
          <a:lstStyle/>
          <a:p>
            <a:pPr eaLnBrk="1" hangingPunct="1"/>
            <a:r>
              <a:rPr lang="pl-PL" sz="2800" b="1" dirty="0" err="1" smtClean="0"/>
              <a:t>Vestas</a:t>
            </a:r>
            <a:r>
              <a:rPr lang="pl-PL" sz="2800" b="1" dirty="0" smtClean="0"/>
              <a:t> Poland</a:t>
            </a:r>
            <a:r>
              <a:rPr lang="pl-PL" sz="1600" dirty="0" smtClean="0">
                <a:solidFill>
                  <a:srgbClr val="66CCFF"/>
                </a:solidFill>
              </a:rPr>
              <a:t/>
            </a:r>
            <a:br>
              <a:rPr lang="pl-PL" sz="1600" dirty="0" smtClean="0">
                <a:solidFill>
                  <a:srgbClr val="66CCFF"/>
                </a:solidFill>
              </a:rPr>
            </a:br>
            <a:endParaRPr lang="en-GB" sz="1600" dirty="0" smtClean="0">
              <a:solidFill>
                <a:schemeClr val="hlink"/>
              </a:solidFill>
            </a:endParaRPr>
          </a:p>
        </p:txBody>
      </p:sp>
      <p:sp>
        <p:nvSpPr>
          <p:cNvPr id="10245"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21510" name="Text Box 5"/>
          <p:cNvSpPr txBox="1">
            <a:spLocks noChangeArrowheads="1"/>
          </p:cNvSpPr>
          <p:nvPr/>
        </p:nvSpPr>
        <p:spPr bwMode="auto">
          <a:xfrm>
            <a:off x="250825" y="1177925"/>
            <a:ext cx="8281988" cy="2092881"/>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5725" indent="-85725" eaLnBrk="0" hangingPunct="0">
              <a:defRPr sz="1600">
                <a:solidFill>
                  <a:schemeClr val="bg1"/>
                </a:solidFill>
                <a:latin typeface="Arial" pitchFamily="34" charset="0"/>
              </a:defRPr>
            </a:lvl1pPr>
            <a:lvl2pPr marL="742950" indent="-285750" eaLnBrk="0" hangingPunct="0">
              <a:defRPr sz="1600">
                <a:solidFill>
                  <a:schemeClr val="bg1"/>
                </a:solidFill>
                <a:latin typeface="Arial" pitchFamily="34" charset="0"/>
              </a:defRPr>
            </a:lvl2pPr>
            <a:lvl3pPr marL="1143000" indent="-228600" eaLnBrk="0" hangingPunct="0">
              <a:defRPr sz="1600">
                <a:solidFill>
                  <a:schemeClr val="bg1"/>
                </a:solidFill>
                <a:latin typeface="Arial" pitchFamily="34" charset="0"/>
              </a:defRPr>
            </a:lvl3pPr>
            <a:lvl4pPr marL="1600200" indent="-228600" eaLnBrk="0" hangingPunct="0">
              <a:defRPr sz="1600">
                <a:solidFill>
                  <a:schemeClr val="bg1"/>
                </a:solidFill>
                <a:latin typeface="Arial" pitchFamily="34" charset="0"/>
              </a:defRPr>
            </a:lvl4pPr>
            <a:lvl5pPr marL="2057400" indent="-228600" eaLnBrk="0" hangingPunct="0">
              <a:defRPr sz="1600">
                <a:solidFill>
                  <a:schemeClr val="bg1"/>
                </a:solidFill>
                <a:latin typeface="Arial" pitchFamily="34" charset="0"/>
              </a:defRPr>
            </a:lvl5pPr>
            <a:lvl6pPr marL="2514600" indent="-228600" eaLnBrk="0" fontAlgn="base" hangingPunct="0">
              <a:spcBef>
                <a:spcPct val="0"/>
              </a:spcBef>
              <a:spcAft>
                <a:spcPct val="0"/>
              </a:spcAft>
              <a:defRPr sz="1600">
                <a:solidFill>
                  <a:schemeClr val="bg1"/>
                </a:solidFill>
                <a:latin typeface="Arial" pitchFamily="34" charset="0"/>
              </a:defRPr>
            </a:lvl6pPr>
            <a:lvl7pPr marL="2971800" indent="-228600" eaLnBrk="0" fontAlgn="base" hangingPunct="0">
              <a:spcBef>
                <a:spcPct val="0"/>
              </a:spcBef>
              <a:spcAft>
                <a:spcPct val="0"/>
              </a:spcAft>
              <a:defRPr sz="1600">
                <a:solidFill>
                  <a:schemeClr val="bg1"/>
                </a:solidFill>
                <a:latin typeface="Arial" pitchFamily="34" charset="0"/>
              </a:defRPr>
            </a:lvl7pPr>
            <a:lvl8pPr marL="3429000" indent="-228600" eaLnBrk="0" fontAlgn="base" hangingPunct="0">
              <a:spcBef>
                <a:spcPct val="0"/>
              </a:spcBef>
              <a:spcAft>
                <a:spcPct val="0"/>
              </a:spcAft>
              <a:defRPr sz="1600">
                <a:solidFill>
                  <a:schemeClr val="bg1"/>
                </a:solidFill>
                <a:latin typeface="Arial" pitchFamily="34" charset="0"/>
              </a:defRPr>
            </a:lvl8pPr>
            <a:lvl9pPr marL="3886200" indent="-228600" eaLnBrk="0" fontAlgn="base" hangingPunct="0">
              <a:spcBef>
                <a:spcPct val="0"/>
              </a:spcBef>
              <a:spcAft>
                <a:spcPct val="0"/>
              </a:spcAft>
              <a:defRPr sz="1600">
                <a:solidFill>
                  <a:schemeClr val="bg1"/>
                </a:solidFill>
                <a:latin typeface="Arial" pitchFamily="34" charset="0"/>
              </a:defRPr>
            </a:lvl9pPr>
          </a:lstStyle>
          <a:p>
            <a:pPr marL="0" indent="0" algn="just">
              <a:defRPr/>
            </a:pPr>
            <a:r>
              <a:rPr lang="en-US" dirty="0"/>
              <a:t>Vestas Poland </a:t>
            </a:r>
            <a:r>
              <a:rPr lang="pl-PL" dirty="0" smtClean="0"/>
              <a:t> rozpoczęcie działalności w 2003 r. </a:t>
            </a:r>
            <a:endParaRPr lang="en-US" dirty="0" smtClean="0"/>
          </a:p>
          <a:p>
            <a:pPr marL="0" indent="0" algn="just">
              <a:defRPr/>
            </a:pPr>
            <a:endParaRPr lang="pl-PL" dirty="0"/>
          </a:p>
          <a:p>
            <a:pPr marL="285750" indent="-285750" algn="just">
              <a:buFont typeface="Arial" pitchFamily="34" charset="0"/>
              <a:buChar char="•"/>
              <a:defRPr/>
            </a:pPr>
            <a:r>
              <a:rPr lang="pl-PL" dirty="0" err="1" smtClean="0"/>
              <a:t>Vestas</a:t>
            </a:r>
            <a:r>
              <a:rPr lang="pl-PL" dirty="0" smtClean="0"/>
              <a:t> Poland w grupie </a:t>
            </a:r>
            <a:r>
              <a:rPr lang="pl-PL" dirty="0" err="1" smtClean="0"/>
              <a:t>Vestas</a:t>
            </a:r>
            <a:r>
              <a:rPr lang="pl-PL" dirty="0" smtClean="0"/>
              <a:t> </a:t>
            </a:r>
            <a:r>
              <a:rPr lang="pl-PL" dirty="0" err="1" smtClean="0"/>
              <a:t>Northern</a:t>
            </a:r>
            <a:r>
              <a:rPr lang="pl-PL" dirty="0" smtClean="0"/>
              <a:t> Europe</a:t>
            </a:r>
          </a:p>
          <a:p>
            <a:pPr marL="285750" indent="-285750" algn="just">
              <a:buFont typeface="Arial" pitchFamily="34" charset="0"/>
              <a:buChar char="•"/>
              <a:defRPr/>
            </a:pPr>
            <a:r>
              <a:rPr lang="pl-PL" dirty="0" smtClean="0"/>
              <a:t>Pierwszy serwis elektrowni wiatrowych w Polsce</a:t>
            </a:r>
            <a:endParaRPr lang="en-US" dirty="0"/>
          </a:p>
          <a:p>
            <a:pPr marL="285750" indent="-285750" algn="just">
              <a:buFont typeface="Arial" pitchFamily="34" charset="0"/>
              <a:buChar char="•"/>
              <a:defRPr/>
            </a:pPr>
            <a:r>
              <a:rPr lang="pl-PL" dirty="0"/>
              <a:t>o</a:t>
            </a:r>
            <a:r>
              <a:rPr lang="pl-PL" dirty="0" smtClean="0"/>
              <a:t>k.</a:t>
            </a:r>
            <a:r>
              <a:rPr lang="en-US" dirty="0" smtClean="0"/>
              <a:t>1</a:t>
            </a:r>
            <a:r>
              <a:rPr lang="pl-PL" dirty="0" smtClean="0"/>
              <a:t>4</a:t>
            </a:r>
            <a:r>
              <a:rPr lang="en-US" dirty="0" smtClean="0"/>
              <a:t>0 </a:t>
            </a:r>
            <a:r>
              <a:rPr lang="pl-PL" dirty="0" smtClean="0"/>
              <a:t>pracowników</a:t>
            </a:r>
            <a:endParaRPr lang="pl-PL" dirty="0"/>
          </a:p>
          <a:p>
            <a:pPr marL="285750" indent="-285750" algn="just">
              <a:buFont typeface="Arial" pitchFamily="34" charset="0"/>
              <a:buChar char="•"/>
              <a:defRPr/>
            </a:pPr>
            <a:r>
              <a:rPr lang="pl-PL" dirty="0" smtClean="0"/>
              <a:t>Biuro w Szczecinie, biuro w Warszawie (2012)</a:t>
            </a:r>
            <a:endParaRPr lang="en-US" dirty="0" smtClean="0"/>
          </a:p>
          <a:p>
            <a:pPr marL="285750" indent="-285750" algn="just">
              <a:buFont typeface="Arial" pitchFamily="34" charset="0"/>
              <a:buChar char="•"/>
              <a:defRPr/>
            </a:pPr>
            <a:r>
              <a:rPr lang="pl-PL" dirty="0"/>
              <a:t>o</a:t>
            </a:r>
            <a:r>
              <a:rPr lang="pl-PL" dirty="0" smtClean="0"/>
              <a:t>k. 800 </a:t>
            </a:r>
            <a:r>
              <a:rPr lang="en-US" dirty="0" smtClean="0"/>
              <a:t>MW </a:t>
            </a:r>
            <a:endParaRPr lang="da-DK" dirty="0" smtClean="0"/>
          </a:p>
          <a:p>
            <a:pPr eaLnBrk="1" hangingPunct="1">
              <a:spcBef>
                <a:spcPct val="50000"/>
              </a:spcBef>
              <a:defRPr/>
            </a:pPr>
            <a:endParaRPr lang="da-DK" dirty="0" smtClean="0"/>
          </a:p>
        </p:txBody>
      </p:sp>
      <p:pic>
        <p:nvPicPr>
          <p:cNvPr id="10247" name="Picture 5" descr="VESTAS_C5_30_1466"/>
          <p:cNvPicPr>
            <a:picLocks noChangeAspect="1" noChangeArrowheads="1"/>
          </p:cNvPicPr>
          <p:nvPr/>
        </p:nvPicPr>
        <p:blipFill>
          <a:blip r:embed="rId3">
            <a:extLst>
              <a:ext uri="{28A0092B-C50C-407E-A947-70E740481C1C}">
                <a14:useLocalDpi xmlns:a14="http://schemas.microsoft.com/office/drawing/2010/main" val="0"/>
              </a:ext>
            </a:extLst>
          </a:blip>
          <a:srcRect t="26308" b="9518"/>
          <a:stretch>
            <a:fillRect/>
          </a:stretch>
        </p:blipFill>
        <p:spPr bwMode="auto">
          <a:xfrm>
            <a:off x="0" y="3338513"/>
            <a:ext cx="9144000" cy="290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3538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pl-PL" sz="2800" b="1" dirty="0" err="1" smtClean="0"/>
              <a:t>Vestas</a:t>
            </a:r>
            <a:r>
              <a:rPr lang="pl-PL" sz="2800" b="1" dirty="0" smtClean="0"/>
              <a:t> Poland</a:t>
            </a:r>
            <a:endParaRPr lang="en-GB" sz="2800" b="1" dirty="0" smtClean="0"/>
          </a:p>
        </p:txBody>
      </p:sp>
      <p:sp>
        <p:nvSpPr>
          <p:cNvPr id="12291" name="Footer Placeholder 5"/>
          <p:cNvSpPr>
            <a:spLocks noGrp="1"/>
          </p:cNvSpPr>
          <p:nvPr>
            <p:ph type="ftr" sz="quarter" idx="11"/>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r>
              <a:rPr lang="pl-PL" sz="900" smtClean="0">
                <a:solidFill>
                  <a:srgbClr val="000000"/>
                </a:solidFill>
              </a:rPr>
              <a:t>Vestas Poland</a:t>
            </a:r>
            <a:endParaRPr lang="en-GB" sz="900" smtClean="0">
              <a:solidFill>
                <a:srgbClr val="000000"/>
              </a:solidFill>
            </a:endParaRPr>
          </a:p>
        </p:txBody>
      </p:sp>
      <p:sp>
        <p:nvSpPr>
          <p:cNvPr id="12292" name="Slide Number Placeholder 6"/>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58DCC00A-CFF1-4019-BD7E-1100A897935E}" type="slidenum">
              <a:rPr lang="en-GB" sz="900" smtClean="0">
                <a:solidFill>
                  <a:srgbClr val="000000"/>
                </a:solidFill>
              </a:rPr>
              <a:pPr eaLnBrk="1" hangingPunct="1"/>
              <a:t>6</a:t>
            </a:fld>
            <a:endParaRPr lang="en-GB" sz="900" smtClean="0">
              <a:solidFill>
                <a:srgbClr val="000000"/>
              </a:solidFill>
            </a:endParaRPr>
          </a:p>
        </p:txBody>
      </p:sp>
      <p:grpSp>
        <p:nvGrpSpPr>
          <p:cNvPr id="12293" name="Group 16"/>
          <p:cNvGrpSpPr>
            <a:grpSpLocks/>
          </p:cNvGrpSpPr>
          <p:nvPr/>
        </p:nvGrpSpPr>
        <p:grpSpPr bwMode="auto">
          <a:xfrm>
            <a:off x="1257300" y="1052513"/>
            <a:ext cx="6627813" cy="4624387"/>
            <a:chOff x="91" y="663"/>
            <a:chExt cx="4175" cy="2913"/>
          </a:xfrm>
        </p:grpSpPr>
        <p:graphicFrame>
          <p:nvGraphicFramePr>
            <p:cNvPr id="12296" name="Object 3"/>
            <p:cNvGraphicFramePr>
              <a:graphicFrameLocks/>
            </p:cNvGraphicFramePr>
            <p:nvPr>
              <p:extLst>
                <p:ext uri="{D42A27DB-BD31-4B8C-83A1-F6EECF244321}">
                  <p14:modId xmlns:p14="http://schemas.microsoft.com/office/powerpoint/2010/main" val="2104768893"/>
                </p:ext>
              </p:extLst>
            </p:nvPr>
          </p:nvGraphicFramePr>
          <p:xfrm>
            <a:off x="91" y="663"/>
            <a:ext cx="4175" cy="2913"/>
          </p:xfrm>
          <a:graphic>
            <a:graphicData uri="http://schemas.openxmlformats.org/presentationml/2006/ole">
              <mc:AlternateContent xmlns:mc="http://schemas.openxmlformats.org/markup-compatibility/2006">
                <mc:Choice xmlns:v="urn:schemas-microsoft-com:vml" Requires="v">
                  <p:oleObj spid="_x0000_s2083" name="Chart" r:id="rId4" imgW="6448293" imgH="4410011" progId="MSGraph.Chart.8">
                    <p:embed followColorScheme="full"/>
                  </p:oleObj>
                </mc:Choice>
                <mc:Fallback>
                  <p:oleObj name="Chart" r:id="rId4" imgW="6448293" imgH="4410011" progId="MSGraph.Chart.8">
                    <p:embed followColorScheme="full"/>
                    <p:pic>
                      <p:nvPicPr>
                        <p:cNvPr id="0" name=""/>
                        <p:cNvPicPr>
                          <a:picLocks noChangeArrowheads="1"/>
                        </p:cNvPicPr>
                        <p:nvPr/>
                      </p:nvPicPr>
                      <p:blipFill>
                        <a:blip r:embed="rId5"/>
                        <a:srcRect/>
                        <a:stretch>
                          <a:fillRect/>
                        </a:stretch>
                      </p:blipFill>
                      <p:spPr bwMode="auto">
                        <a:xfrm>
                          <a:off x="91" y="663"/>
                          <a:ext cx="4175" cy="29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2297" name="Line 11"/>
            <p:cNvSpPr>
              <a:spLocks noChangeShapeType="1"/>
            </p:cNvSpPr>
            <p:nvPr/>
          </p:nvSpPr>
          <p:spPr bwMode="auto">
            <a:xfrm>
              <a:off x="137" y="3452"/>
              <a:ext cx="405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12298" name="Line 13"/>
            <p:cNvSpPr>
              <a:spLocks noChangeShapeType="1"/>
            </p:cNvSpPr>
            <p:nvPr/>
          </p:nvSpPr>
          <p:spPr bwMode="auto">
            <a:xfrm>
              <a:off x="133" y="1220"/>
              <a:ext cx="4058" cy="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12299" name="Text Box 14"/>
            <p:cNvSpPr txBox="1">
              <a:spLocks noChangeArrowheads="1"/>
            </p:cNvSpPr>
            <p:nvPr/>
          </p:nvSpPr>
          <p:spPr bwMode="auto">
            <a:xfrm>
              <a:off x="433" y="1043"/>
              <a:ext cx="3410" cy="15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1905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algn="ctr" eaLnBrk="1" hangingPunct="1">
                <a:spcBef>
                  <a:spcPct val="50000"/>
                </a:spcBef>
              </a:pPr>
              <a:r>
                <a:rPr lang="pl-PL" b="1" dirty="0" smtClean="0">
                  <a:solidFill>
                    <a:srgbClr val="000000"/>
                  </a:solidFill>
                </a:rPr>
                <a:t>Rynek producentów turbin wiatrowych w Polsce </a:t>
              </a:r>
              <a:endParaRPr lang="en-GB" b="1" dirty="0">
                <a:solidFill>
                  <a:srgbClr val="000000"/>
                </a:solidFill>
              </a:endParaRPr>
            </a:p>
          </p:txBody>
        </p:sp>
      </p:grpSp>
      <p:sp>
        <p:nvSpPr>
          <p:cNvPr id="12294" name="Text Box 15"/>
          <p:cNvSpPr txBox="1">
            <a:spLocks noChangeArrowheads="1"/>
          </p:cNvSpPr>
          <p:nvPr/>
        </p:nvSpPr>
        <p:spPr bwMode="auto">
          <a:xfrm>
            <a:off x="215900" y="638175"/>
            <a:ext cx="8712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spcBef>
                <a:spcPct val="50000"/>
              </a:spcBef>
            </a:pPr>
            <a:r>
              <a:rPr lang="en-US" b="1">
                <a:solidFill>
                  <a:srgbClr val="66CCFF"/>
                </a:solidFill>
              </a:rPr>
              <a:t>Wind market leader</a:t>
            </a:r>
            <a:endParaRPr lang="en-GB" b="1">
              <a:solidFill>
                <a:srgbClr val="000000"/>
              </a:solidFill>
            </a:endParaRPr>
          </a:p>
        </p:txBody>
      </p:sp>
      <p:sp>
        <p:nvSpPr>
          <p:cNvPr id="12295" name="Line 3"/>
          <p:cNvSpPr>
            <a:spLocks noChangeShapeType="1"/>
          </p:cNvSpPr>
          <p:nvPr/>
        </p:nvSpPr>
        <p:spPr bwMode="auto">
          <a:xfrm>
            <a:off x="215900" y="998538"/>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Tree>
    <p:extLst>
      <p:ext uri="{BB962C8B-B14F-4D97-AF65-F5344CB8AC3E}">
        <p14:creationId xmlns:p14="http://schemas.microsoft.com/office/powerpoint/2010/main" val="22087503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oter Placeholder 4"/>
          <p:cNvSpPr>
            <a:spLocks noGrp="1"/>
          </p:cNvSpPr>
          <p:nvPr>
            <p:ph type="ftr" sz="quarter" idx="11"/>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r>
              <a:rPr lang="en-GB" sz="900" smtClean="0"/>
              <a:t> Vestas Corporate presentation</a:t>
            </a:r>
          </a:p>
        </p:txBody>
      </p:sp>
      <p:sp>
        <p:nvSpPr>
          <p:cNvPr id="20483"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1E8383B1-0FFD-45AF-8592-CEC7F43E4302}" type="slidenum">
              <a:rPr lang="en-GB" sz="900" smtClean="0"/>
              <a:pPr eaLnBrk="1" hangingPunct="1"/>
              <a:t>7</a:t>
            </a:fld>
            <a:endParaRPr lang="en-GB" sz="900" smtClean="0"/>
          </a:p>
        </p:txBody>
      </p:sp>
      <p:sp>
        <p:nvSpPr>
          <p:cNvPr id="20484" name="Rectangle 2"/>
          <p:cNvSpPr>
            <a:spLocks noGrp="1" noChangeArrowheads="1"/>
          </p:cNvSpPr>
          <p:nvPr>
            <p:ph type="title"/>
          </p:nvPr>
        </p:nvSpPr>
        <p:spPr>
          <a:xfrm>
            <a:off x="215900" y="244475"/>
            <a:ext cx="8712200" cy="808038"/>
          </a:xfrm>
          <a:noFill/>
        </p:spPr>
        <p:txBody>
          <a:bodyPr/>
          <a:lstStyle/>
          <a:p>
            <a:pPr eaLnBrk="1" hangingPunct="1"/>
            <a:r>
              <a:rPr lang="en-GB" b="1" dirty="0" smtClean="0"/>
              <a:t>Product Portfolio </a:t>
            </a:r>
            <a:r>
              <a:rPr lang="en-GB" dirty="0" smtClean="0"/>
              <a:t/>
            </a:r>
            <a:br>
              <a:rPr lang="en-GB" dirty="0" smtClean="0"/>
            </a:br>
            <a:r>
              <a:rPr lang="en-GB" sz="1600" dirty="0" err="1" smtClean="0">
                <a:solidFill>
                  <a:schemeClr val="hlink"/>
                </a:solidFill>
              </a:rPr>
              <a:t>VestasOnline</a:t>
            </a:r>
            <a:r>
              <a:rPr lang="en-GB" sz="1600" dirty="0" smtClean="0">
                <a:solidFill>
                  <a:schemeClr val="hlink"/>
                </a:solidFill>
              </a:rPr>
              <a:t>® Business</a:t>
            </a:r>
          </a:p>
        </p:txBody>
      </p:sp>
      <p:sp>
        <p:nvSpPr>
          <p:cNvPr id="20485" name="Line 4"/>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pic>
        <p:nvPicPr>
          <p:cNvPr id="20487" name="Picture 12" descr="654768_fpo"/>
          <p:cNvPicPr>
            <a:picLocks noChangeAspect="1" noChangeArrowheads="1"/>
          </p:cNvPicPr>
          <p:nvPr/>
        </p:nvPicPr>
        <p:blipFill>
          <a:blip r:embed="rId2">
            <a:extLst>
              <a:ext uri="{28A0092B-C50C-407E-A947-70E740481C1C}">
                <a14:useLocalDpi xmlns:a14="http://schemas.microsoft.com/office/drawing/2010/main" val="0"/>
              </a:ext>
            </a:extLst>
          </a:blip>
          <a:srcRect t="40382" r="2339" b="13130"/>
          <a:stretch>
            <a:fillRect/>
          </a:stretch>
        </p:blipFill>
        <p:spPr bwMode="auto">
          <a:xfrm>
            <a:off x="0" y="3319463"/>
            <a:ext cx="9144000" cy="290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p:nvSpPr>
        <p:spPr bwMode="auto">
          <a:xfrm>
            <a:off x="431800" y="1177925"/>
            <a:ext cx="6119813" cy="2062103"/>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5725" indent="-85725" eaLnBrk="0" hangingPunct="0">
              <a:defRPr sz="1600">
                <a:solidFill>
                  <a:schemeClr val="bg1"/>
                </a:solidFill>
                <a:latin typeface="Arial" pitchFamily="34" charset="0"/>
              </a:defRPr>
            </a:lvl1pPr>
            <a:lvl2pPr marL="742950" indent="-285750" eaLnBrk="0" hangingPunct="0">
              <a:defRPr sz="1600">
                <a:solidFill>
                  <a:schemeClr val="bg1"/>
                </a:solidFill>
                <a:latin typeface="Arial" pitchFamily="34" charset="0"/>
              </a:defRPr>
            </a:lvl2pPr>
            <a:lvl3pPr marL="1143000" indent="-228600" eaLnBrk="0" hangingPunct="0">
              <a:defRPr sz="1600">
                <a:solidFill>
                  <a:schemeClr val="bg1"/>
                </a:solidFill>
                <a:latin typeface="Arial" pitchFamily="34" charset="0"/>
              </a:defRPr>
            </a:lvl3pPr>
            <a:lvl4pPr marL="1600200" indent="-228600" eaLnBrk="0" hangingPunct="0">
              <a:defRPr sz="1600">
                <a:solidFill>
                  <a:schemeClr val="bg1"/>
                </a:solidFill>
                <a:latin typeface="Arial" pitchFamily="34" charset="0"/>
              </a:defRPr>
            </a:lvl4pPr>
            <a:lvl5pPr marL="2057400" indent="-228600" eaLnBrk="0" hangingPunct="0">
              <a:defRPr sz="1600">
                <a:solidFill>
                  <a:schemeClr val="bg1"/>
                </a:solidFill>
                <a:latin typeface="Arial" pitchFamily="34" charset="0"/>
              </a:defRPr>
            </a:lvl5pPr>
            <a:lvl6pPr marL="2514600" indent="-228600" eaLnBrk="0" fontAlgn="base" hangingPunct="0">
              <a:spcBef>
                <a:spcPct val="0"/>
              </a:spcBef>
              <a:spcAft>
                <a:spcPct val="0"/>
              </a:spcAft>
              <a:defRPr sz="1600">
                <a:solidFill>
                  <a:schemeClr val="bg1"/>
                </a:solidFill>
                <a:latin typeface="Arial" pitchFamily="34" charset="0"/>
              </a:defRPr>
            </a:lvl6pPr>
            <a:lvl7pPr marL="2971800" indent="-228600" eaLnBrk="0" fontAlgn="base" hangingPunct="0">
              <a:spcBef>
                <a:spcPct val="0"/>
              </a:spcBef>
              <a:spcAft>
                <a:spcPct val="0"/>
              </a:spcAft>
              <a:defRPr sz="1600">
                <a:solidFill>
                  <a:schemeClr val="bg1"/>
                </a:solidFill>
                <a:latin typeface="Arial" pitchFamily="34" charset="0"/>
              </a:defRPr>
            </a:lvl7pPr>
            <a:lvl8pPr marL="3429000" indent="-228600" eaLnBrk="0" fontAlgn="base" hangingPunct="0">
              <a:spcBef>
                <a:spcPct val="0"/>
              </a:spcBef>
              <a:spcAft>
                <a:spcPct val="0"/>
              </a:spcAft>
              <a:defRPr sz="1600">
                <a:solidFill>
                  <a:schemeClr val="bg1"/>
                </a:solidFill>
                <a:latin typeface="Arial" pitchFamily="34" charset="0"/>
              </a:defRPr>
            </a:lvl8pPr>
            <a:lvl9pPr marL="3886200" indent="-228600" eaLnBrk="0" fontAlgn="base" hangingPunct="0">
              <a:spcBef>
                <a:spcPct val="0"/>
              </a:spcBef>
              <a:spcAft>
                <a:spcPct val="0"/>
              </a:spcAft>
              <a:defRPr sz="1600">
                <a:solidFill>
                  <a:schemeClr val="bg1"/>
                </a:solidFill>
                <a:latin typeface="Arial" pitchFamily="34" charset="0"/>
              </a:defRPr>
            </a:lvl9pPr>
          </a:lstStyle>
          <a:p>
            <a:pPr marL="0" indent="0" eaLnBrk="1" hangingPunct="1">
              <a:defRPr/>
            </a:pPr>
            <a:r>
              <a:rPr lang="en-US" dirty="0" err="1" smtClean="0"/>
              <a:t>Vestas</a:t>
            </a:r>
            <a:r>
              <a:rPr lang="en-US" dirty="0" smtClean="0"/>
              <a:t> </a:t>
            </a:r>
            <a:r>
              <a:rPr lang="pl-PL" dirty="0" smtClean="0"/>
              <a:t>prowadzi szczegółowe ekspertyzy na potrzeby rozwoju projektów, oferując między innymi</a:t>
            </a:r>
            <a:r>
              <a:rPr lang="en-US" dirty="0" smtClean="0"/>
              <a:t>: </a:t>
            </a:r>
            <a:endParaRPr lang="da-DK" dirty="0" smtClean="0"/>
          </a:p>
          <a:p>
            <a:pPr eaLnBrk="1" hangingPunct="1">
              <a:defRPr/>
            </a:pPr>
            <a:endParaRPr lang="da-DK" sz="800" dirty="0" smtClean="0"/>
          </a:p>
          <a:p>
            <a:pPr eaLnBrk="1" hangingPunct="1">
              <a:buFontTx/>
              <a:buChar char="•"/>
              <a:defRPr/>
            </a:pPr>
            <a:r>
              <a:rPr lang="pl-PL" sz="1400" dirty="0" err="1" smtClean="0"/>
              <a:t>VestasOnline</a:t>
            </a:r>
            <a:r>
              <a:rPr lang="da-DK" sz="1400" dirty="0" smtClean="0"/>
              <a:t>®</a:t>
            </a:r>
            <a:r>
              <a:rPr lang="pl-PL" sz="1400" dirty="0" smtClean="0"/>
              <a:t> Business</a:t>
            </a:r>
            <a:endParaRPr lang="da-DK" sz="1400" dirty="0"/>
          </a:p>
          <a:p>
            <a:pPr eaLnBrk="1" hangingPunct="1">
              <a:buFontTx/>
              <a:buChar char="•"/>
              <a:defRPr/>
            </a:pPr>
            <a:r>
              <a:rPr lang="da-DK" sz="1400" dirty="0" err="1" smtClean="0"/>
              <a:t>SiteHunt</a:t>
            </a:r>
            <a:r>
              <a:rPr lang="da-DK" sz="1400" dirty="0" smtClean="0"/>
              <a:t>®</a:t>
            </a:r>
          </a:p>
          <a:p>
            <a:pPr eaLnBrk="1" hangingPunct="1">
              <a:buFontTx/>
              <a:buChar char="•"/>
              <a:defRPr/>
            </a:pPr>
            <a:r>
              <a:rPr lang="da-DK" sz="1400" dirty="0" err="1" smtClean="0"/>
              <a:t>SiteDesign</a:t>
            </a:r>
            <a:r>
              <a:rPr lang="da-DK" sz="1400" dirty="0" smtClean="0"/>
              <a:t>®</a:t>
            </a:r>
          </a:p>
          <a:p>
            <a:pPr eaLnBrk="1" hangingPunct="1">
              <a:buFontTx/>
              <a:buChar char="•"/>
              <a:defRPr/>
            </a:pPr>
            <a:r>
              <a:rPr lang="da-DK" sz="1400" dirty="0" err="1" smtClean="0"/>
              <a:t>Electrical</a:t>
            </a:r>
            <a:r>
              <a:rPr lang="da-DK" sz="1400" dirty="0" smtClean="0"/>
              <a:t> </a:t>
            </a:r>
            <a:r>
              <a:rPr lang="da-DK" sz="1400" dirty="0" err="1" smtClean="0"/>
              <a:t>PreDesign</a:t>
            </a:r>
            <a:r>
              <a:rPr lang="da-DK" sz="1400" dirty="0" smtClean="0"/>
              <a:t>®</a:t>
            </a:r>
          </a:p>
          <a:p>
            <a:pPr marL="0" indent="0" eaLnBrk="1" hangingPunct="1">
              <a:defRPr/>
            </a:pPr>
            <a:endParaRPr lang="da-DK" sz="1400" dirty="0" smtClean="0"/>
          </a:p>
          <a:p>
            <a:pPr eaLnBrk="1" hangingPunct="1">
              <a:spcBef>
                <a:spcPct val="50000"/>
              </a:spcBef>
              <a:defRPr/>
            </a:pPr>
            <a:endParaRPr lang="da-DK" dirty="0" smtClean="0"/>
          </a:p>
        </p:txBody>
      </p:sp>
    </p:spTree>
    <p:extLst>
      <p:ext uri="{BB962C8B-B14F-4D97-AF65-F5344CB8AC3E}">
        <p14:creationId xmlns:p14="http://schemas.microsoft.com/office/powerpoint/2010/main" val="1231908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Footer Placeholder 4"/>
          <p:cNvSpPr>
            <a:spLocks noGrp="1"/>
          </p:cNvSpPr>
          <p:nvPr>
            <p:ph type="ftr" sz="quarter" idx="11"/>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r>
              <a:rPr lang="en-GB" sz="900" smtClean="0"/>
              <a:t> </a:t>
            </a:r>
            <a:r>
              <a:rPr lang="pl-PL" sz="900" smtClean="0"/>
              <a:t>Vestas Poland</a:t>
            </a:r>
            <a:endParaRPr lang="en-GB" sz="900" smtClean="0"/>
          </a:p>
        </p:txBody>
      </p:sp>
      <p:sp>
        <p:nvSpPr>
          <p:cNvPr id="15363"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4582940A-A481-4008-BDEF-F9027EB0C5F5}" type="slidenum">
              <a:rPr lang="en-GB" sz="900" smtClean="0"/>
              <a:pPr eaLnBrk="1" hangingPunct="1"/>
              <a:t>8</a:t>
            </a:fld>
            <a:endParaRPr lang="en-GB" sz="900" smtClean="0"/>
          </a:p>
        </p:txBody>
      </p:sp>
      <p:sp>
        <p:nvSpPr>
          <p:cNvPr id="15364" name="Rectangle 2"/>
          <p:cNvSpPr>
            <a:spLocks noGrp="1" noChangeArrowheads="1"/>
          </p:cNvSpPr>
          <p:nvPr>
            <p:ph type="title"/>
          </p:nvPr>
        </p:nvSpPr>
        <p:spPr>
          <a:xfrm>
            <a:off x="215900" y="188913"/>
            <a:ext cx="8712200" cy="808037"/>
          </a:xfrm>
          <a:noFill/>
        </p:spPr>
        <p:txBody>
          <a:bodyPr/>
          <a:lstStyle/>
          <a:p>
            <a:pPr eaLnBrk="1" hangingPunct="1"/>
            <a:r>
              <a:rPr lang="en-GB" sz="2800" b="1" dirty="0" err="1" smtClean="0"/>
              <a:t>Vestas</a:t>
            </a:r>
            <a:r>
              <a:rPr lang="en-GB" sz="2800" b="1" dirty="0" smtClean="0"/>
              <a:t> Poland</a:t>
            </a:r>
            <a:r>
              <a:rPr lang="en-GB" sz="2800" dirty="0" smtClean="0"/>
              <a:t/>
            </a:r>
            <a:br>
              <a:rPr lang="en-GB" sz="2800" dirty="0" smtClean="0"/>
            </a:br>
            <a:r>
              <a:rPr lang="en-GB" sz="1600" b="1" dirty="0" smtClean="0">
                <a:solidFill>
                  <a:srgbClr val="66CCFF"/>
                </a:solidFill>
              </a:rPr>
              <a:t>Some of our customers</a:t>
            </a:r>
          </a:p>
        </p:txBody>
      </p:sp>
      <p:sp>
        <p:nvSpPr>
          <p:cNvPr id="15365"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pic>
        <p:nvPicPr>
          <p:cNvPr id="15366" name="Picture 2" descr="C:\Users\wiszc\Desktop\250px-DONG_Energ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3365" y="1449388"/>
            <a:ext cx="2586038"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7" name="Picture 3" descr="C:\Users\wiszc\Desktop\GDF-SUEZ_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3794125"/>
            <a:ext cx="28448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9" name="Picture 9" descr="C:\Users\wiszc\Desktop\J-POW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6063" y="1333500"/>
            <a:ext cx="26035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0" name="Picture 10" descr="C:\Users\wiszc\Desktop\pep.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2425" y="3790950"/>
            <a:ext cx="2390775"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1" name="Picture 11" descr="C:\Users\wiszc\Desktop\enea.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0" y="2533650"/>
            <a:ext cx="2632075"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2" name="Picture 12" descr="C:\Users\wiszc\Desktop\prokon-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33625" y="4868863"/>
            <a:ext cx="1776413"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3" name="Picture 13" descr="C:\Users\wiszc\Desktop\tauro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5088" y="5049838"/>
            <a:ext cx="2300287"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C:\Users\TASUM\Pictures\logo EDF.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713" y="2651125"/>
            <a:ext cx="2491690" cy="846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68767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Slide Number Placeholder 5"/>
          <p:cNvSpPr>
            <a:spLocks noGrp="1"/>
          </p:cNvSpPr>
          <p:nvPr>
            <p:ph type="sldNum" sz="quarter" idx="12"/>
          </p:nvPr>
        </p:nvSpPr>
        <p:spPr>
          <a:noFill/>
        </p:spPr>
        <p:txBody>
          <a:bodyPr/>
          <a:lstStyle>
            <a:lvl1pPr eaLnBrk="0" hangingPunct="0">
              <a:defRPr sz="1600">
                <a:solidFill>
                  <a:schemeClr val="bg1"/>
                </a:solidFill>
                <a:latin typeface="Arial" charset="0"/>
              </a:defRPr>
            </a:lvl1pPr>
            <a:lvl2pPr marL="742950" indent="-285750" eaLnBrk="0" hangingPunct="0">
              <a:defRPr sz="1600">
                <a:solidFill>
                  <a:schemeClr val="bg1"/>
                </a:solidFill>
                <a:latin typeface="Arial" charset="0"/>
              </a:defRPr>
            </a:lvl2pPr>
            <a:lvl3pPr marL="1143000" indent="-228600" eaLnBrk="0" hangingPunct="0">
              <a:defRPr sz="1600">
                <a:solidFill>
                  <a:schemeClr val="bg1"/>
                </a:solidFill>
                <a:latin typeface="Arial" charset="0"/>
              </a:defRPr>
            </a:lvl3pPr>
            <a:lvl4pPr marL="1600200" indent="-228600" eaLnBrk="0" hangingPunct="0">
              <a:defRPr sz="1600">
                <a:solidFill>
                  <a:schemeClr val="bg1"/>
                </a:solidFill>
                <a:latin typeface="Arial" charset="0"/>
              </a:defRPr>
            </a:lvl4pPr>
            <a:lvl5pPr marL="2057400" indent="-228600" eaLnBrk="0" hangingPunct="0">
              <a:defRPr sz="1600">
                <a:solidFill>
                  <a:schemeClr val="bg1"/>
                </a:solidFill>
                <a:latin typeface="Arial" charset="0"/>
              </a:defRPr>
            </a:lvl5pPr>
            <a:lvl6pPr marL="2514600" indent="-228600" eaLnBrk="0" fontAlgn="base" hangingPunct="0">
              <a:spcBef>
                <a:spcPct val="0"/>
              </a:spcBef>
              <a:spcAft>
                <a:spcPct val="0"/>
              </a:spcAft>
              <a:defRPr sz="1600">
                <a:solidFill>
                  <a:schemeClr val="bg1"/>
                </a:solidFill>
                <a:latin typeface="Arial" charset="0"/>
              </a:defRPr>
            </a:lvl6pPr>
            <a:lvl7pPr marL="2971800" indent="-228600" eaLnBrk="0" fontAlgn="base" hangingPunct="0">
              <a:spcBef>
                <a:spcPct val="0"/>
              </a:spcBef>
              <a:spcAft>
                <a:spcPct val="0"/>
              </a:spcAft>
              <a:defRPr sz="1600">
                <a:solidFill>
                  <a:schemeClr val="bg1"/>
                </a:solidFill>
                <a:latin typeface="Arial" charset="0"/>
              </a:defRPr>
            </a:lvl7pPr>
            <a:lvl8pPr marL="3429000" indent="-228600" eaLnBrk="0" fontAlgn="base" hangingPunct="0">
              <a:spcBef>
                <a:spcPct val="0"/>
              </a:spcBef>
              <a:spcAft>
                <a:spcPct val="0"/>
              </a:spcAft>
              <a:defRPr sz="1600">
                <a:solidFill>
                  <a:schemeClr val="bg1"/>
                </a:solidFill>
                <a:latin typeface="Arial" charset="0"/>
              </a:defRPr>
            </a:lvl8pPr>
            <a:lvl9pPr marL="3886200" indent="-228600" eaLnBrk="0" fontAlgn="base" hangingPunct="0">
              <a:spcBef>
                <a:spcPct val="0"/>
              </a:spcBef>
              <a:spcAft>
                <a:spcPct val="0"/>
              </a:spcAft>
              <a:defRPr sz="1600">
                <a:solidFill>
                  <a:schemeClr val="bg1"/>
                </a:solidFill>
                <a:latin typeface="Arial" charset="0"/>
              </a:defRPr>
            </a:lvl9pPr>
          </a:lstStyle>
          <a:p>
            <a:pPr eaLnBrk="1" hangingPunct="1"/>
            <a:fld id="{25682FD2-A730-4731-BC64-57BEF4E31A6B}" type="slidenum">
              <a:rPr lang="en-GB" sz="900" smtClean="0"/>
              <a:pPr eaLnBrk="1" hangingPunct="1"/>
              <a:t>9</a:t>
            </a:fld>
            <a:endParaRPr lang="en-GB" sz="900" smtClean="0"/>
          </a:p>
        </p:txBody>
      </p:sp>
      <p:sp>
        <p:nvSpPr>
          <p:cNvPr id="23557" name="Line 3"/>
          <p:cNvSpPr>
            <a:spLocks noChangeShapeType="1"/>
          </p:cNvSpPr>
          <p:nvPr/>
        </p:nvSpPr>
        <p:spPr bwMode="auto">
          <a:xfrm>
            <a:off x="215900" y="908050"/>
            <a:ext cx="87122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a:p>
        </p:txBody>
      </p:sp>
      <p:sp>
        <p:nvSpPr>
          <p:cNvPr id="21510" name="Text Box 5"/>
          <p:cNvSpPr txBox="1">
            <a:spLocks noChangeArrowheads="1"/>
          </p:cNvSpPr>
          <p:nvPr/>
        </p:nvSpPr>
        <p:spPr bwMode="auto">
          <a:xfrm>
            <a:off x="431800" y="1177925"/>
            <a:ext cx="6119813" cy="58477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5725" indent="-85725" eaLnBrk="0" hangingPunct="0">
              <a:defRPr sz="1600">
                <a:solidFill>
                  <a:schemeClr val="bg1"/>
                </a:solidFill>
                <a:latin typeface="Arial" pitchFamily="34" charset="0"/>
              </a:defRPr>
            </a:lvl1pPr>
            <a:lvl2pPr marL="742950" indent="-285750" eaLnBrk="0" hangingPunct="0">
              <a:defRPr sz="1600">
                <a:solidFill>
                  <a:schemeClr val="bg1"/>
                </a:solidFill>
                <a:latin typeface="Arial" pitchFamily="34" charset="0"/>
              </a:defRPr>
            </a:lvl2pPr>
            <a:lvl3pPr marL="1143000" indent="-228600" eaLnBrk="0" hangingPunct="0">
              <a:defRPr sz="1600">
                <a:solidFill>
                  <a:schemeClr val="bg1"/>
                </a:solidFill>
                <a:latin typeface="Arial" pitchFamily="34" charset="0"/>
              </a:defRPr>
            </a:lvl3pPr>
            <a:lvl4pPr marL="1600200" indent="-228600" eaLnBrk="0" hangingPunct="0">
              <a:defRPr sz="1600">
                <a:solidFill>
                  <a:schemeClr val="bg1"/>
                </a:solidFill>
                <a:latin typeface="Arial" pitchFamily="34" charset="0"/>
              </a:defRPr>
            </a:lvl4pPr>
            <a:lvl5pPr marL="2057400" indent="-228600" eaLnBrk="0" hangingPunct="0">
              <a:defRPr sz="1600">
                <a:solidFill>
                  <a:schemeClr val="bg1"/>
                </a:solidFill>
                <a:latin typeface="Arial" pitchFamily="34" charset="0"/>
              </a:defRPr>
            </a:lvl5pPr>
            <a:lvl6pPr marL="2514600" indent="-228600" eaLnBrk="0" fontAlgn="base" hangingPunct="0">
              <a:spcBef>
                <a:spcPct val="0"/>
              </a:spcBef>
              <a:spcAft>
                <a:spcPct val="0"/>
              </a:spcAft>
              <a:defRPr sz="1600">
                <a:solidFill>
                  <a:schemeClr val="bg1"/>
                </a:solidFill>
                <a:latin typeface="Arial" pitchFamily="34" charset="0"/>
              </a:defRPr>
            </a:lvl6pPr>
            <a:lvl7pPr marL="2971800" indent="-228600" eaLnBrk="0" fontAlgn="base" hangingPunct="0">
              <a:spcBef>
                <a:spcPct val="0"/>
              </a:spcBef>
              <a:spcAft>
                <a:spcPct val="0"/>
              </a:spcAft>
              <a:defRPr sz="1600">
                <a:solidFill>
                  <a:schemeClr val="bg1"/>
                </a:solidFill>
                <a:latin typeface="Arial" pitchFamily="34" charset="0"/>
              </a:defRPr>
            </a:lvl7pPr>
            <a:lvl8pPr marL="3429000" indent="-228600" eaLnBrk="0" fontAlgn="base" hangingPunct="0">
              <a:spcBef>
                <a:spcPct val="0"/>
              </a:spcBef>
              <a:spcAft>
                <a:spcPct val="0"/>
              </a:spcAft>
              <a:defRPr sz="1600">
                <a:solidFill>
                  <a:schemeClr val="bg1"/>
                </a:solidFill>
                <a:latin typeface="Arial" pitchFamily="34" charset="0"/>
              </a:defRPr>
            </a:lvl8pPr>
            <a:lvl9pPr marL="3886200" indent="-228600" eaLnBrk="0" fontAlgn="base" hangingPunct="0">
              <a:spcBef>
                <a:spcPct val="0"/>
              </a:spcBef>
              <a:spcAft>
                <a:spcPct val="0"/>
              </a:spcAft>
              <a:defRPr sz="1600">
                <a:solidFill>
                  <a:schemeClr val="bg1"/>
                </a:solidFill>
                <a:latin typeface="Arial" pitchFamily="34" charset="0"/>
              </a:defRPr>
            </a:lvl9pPr>
          </a:lstStyle>
          <a:p>
            <a:pPr marL="0" indent="0" eaLnBrk="1" hangingPunct="1">
              <a:defRPr/>
            </a:pPr>
            <a:endParaRPr lang="da-DK" sz="1400" dirty="0" smtClean="0"/>
          </a:p>
          <a:p>
            <a:pPr eaLnBrk="1" hangingPunct="1">
              <a:spcBef>
                <a:spcPct val="50000"/>
              </a:spcBef>
              <a:defRPr/>
            </a:pPr>
            <a:endParaRPr lang="da-DK" dirty="0" smtClean="0"/>
          </a:p>
        </p:txBody>
      </p:sp>
      <p:pic>
        <p:nvPicPr>
          <p:cNvPr id="2355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24225"/>
            <a:ext cx="9144000" cy="289560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15900" y="1762700"/>
            <a:ext cx="8712200" cy="352425"/>
          </a:xfrm>
        </p:spPr>
        <p:txBody>
          <a:bodyPr/>
          <a:lstStyle/>
          <a:p>
            <a:r>
              <a:rPr lang="pl-PL" dirty="0" smtClean="0"/>
              <a:t>Rynek energetyki wiatrowej</a:t>
            </a:r>
            <a:endParaRPr lang="de-DE" dirty="0"/>
          </a:p>
        </p:txBody>
      </p:sp>
    </p:spTree>
    <p:extLst>
      <p:ext uri="{BB962C8B-B14F-4D97-AF65-F5344CB8AC3E}">
        <p14:creationId xmlns:p14="http://schemas.microsoft.com/office/powerpoint/2010/main" val="954564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0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3&quot;/&gt;&lt;elem&gt;&lt;m_nPartnerID val=&quot;530&quot;/&gt;&lt;m_nIndex val=&quot;2&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FXa9RckOkSs650zbQE1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q_muOdT1kCmvELJMr7z1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PNzG_27EE65tsIJ7Ait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r6xGQzruEqlE_UFDDFv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_DR1Rt8CEq0KIQoFv97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JV76MzMPk.csQSaVWKP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_TTTjLsekuzsOADS9Gj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Rx9qXMqZEGBBa2InNRX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omtD3p2VUWH0aNEdLaX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J90bHkqEeC.dJLRy6E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R82xgQsJE6Ef.9he.vr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23cYlQaXEuBkoxStext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AFJxBc2ZUmyVYn5rS_1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Fif1zm90GEKlt.xAnV5A"/>
</p:tagLst>
</file>

<file path=ppt/theme/theme1.xml><?xml version="1.0" encoding="utf-8"?>
<a:theme xmlns:a="http://schemas.openxmlformats.org/drawingml/2006/main" name="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7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VestasExtented">
  <a:themeElements>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VestasExten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VestasExtented">
  <a:themeElements>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VestasExten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VestasExtented">
  <a:themeElements>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VestasExten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blank">
  <a:themeElements>
    <a:clrScheme name="Custom 1">
      <a:dk1>
        <a:srgbClr val="ADAFAF"/>
      </a:dk1>
      <a:lt1>
        <a:srgbClr val="37424A"/>
      </a:lt1>
      <a:dk2>
        <a:srgbClr val="000000"/>
      </a:dk2>
      <a:lt2>
        <a:srgbClr val="470083"/>
      </a:lt2>
      <a:accent1>
        <a:srgbClr val="006CA1"/>
      </a:accent1>
      <a:accent2>
        <a:srgbClr val="89D8FF"/>
      </a:accent2>
      <a:accent3>
        <a:srgbClr val="AAAAAA"/>
      </a:accent3>
      <a:accent4>
        <a:srgbClr val="2D373E"/>
      </a:accent4>
      <a:accent5>
        <a:srgbClr val="89D8FF"/>
      </a:accent5>
      <a:accent6>
        <a:srgbClr val="C5E2F3"/>
      </a:accent6>
      <a:hlink>
        <a:srgbClr val="0091D7"/>
      </a:hlink>
      <a:folHlink>
        <a:srgbClr val="A0CFEB"/>
      </a:folHlink>
    </a:clrScheme>
    <a:fontScheme name="VestasExten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charset="0"/>
          </a:defRPr>
        </a:defPPr>
      </a:lstStyle>
    </a:lnDef>
  </a:objectDefaults>
  <a:extraClrSchemeLst>
    <a:extraClrScheme>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7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a:themeElements>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default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VestasExtented">
  <a:themeElements>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VestasExten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VestasExtented">
  <a:themeElements>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fontScheme name="VestasExten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bg1"/>
            </a:solidFill>
            <a:effectLst/>
            <a:latin typeface="Arial" charset="0"/>
          </a:defRPr>
        </a:defPPr>
      </a:lstStyle>
    </a:lnDef>
  </a:objectDefaults>
  <a:extraClrSchemeLst>
    <a:extraClrScheme>
      <a:clrScheme name="VestasExtented 1">
        <a:dk1>
          <a:srgbClr val="ADAFAF"/>
        </a:dk1>
        <a:lt1>
          <a:srgbClr val="37424A"/>
        </a:lt1>
        <a:dk2>
          <a:srgbClr val="000000"/>
        </a:dk2>
        <a:lt2>
          <a:srgbClr val="470083"/>
        </a:lt2>
        <a:accent1>
          <a:srgbClr val="C30000"/>
        </a:accent1>
        <a:accent2>
          <a:srgbClr val="E37222"/>
        </a:accent2>
        <a:accent3>
          <a:srgbClr val="AAAAAA"/>
        </a:accent3>
        <a:accent4>
          <a:srgbClr val="2D373E"/>
        </a:accent4>
        <a:accent5>
          <a:srgbClr val="DEAAAA"/>
        </a:accent5>
        <a:accent6>
          <a:srgbClr val="CE671E"/>
        </a:accent6>
        <a:hlink>
          <a:srgbClr val="0091D7"/>
        </a:hlink>
        <a:folHlink>
          <a:srgbClr val="A0CFEB"/>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blank</Template>
  <TotalTime>266</TotalTime>
  <Words>4878</Words>
  <Application>Microsoft Office PowerPoint</Application>
  <PresentationFormat>On-screen Show (4:3)</PresentationFormat>
  <Paragraphs>394</Paragraphs>
  <Slides>28</Slides>
  <Notes>14</Notes>
  <HiddenSlides>0</HiddenSlides>
  <MMClips>0</MMClips>
  <ScaleCrop>false</ScaleCrop>
  <HeadingPairs>
    <vt:vector size="6" baseType="variant">
      <vt:variant>
        <vt:lpstr>Theme</vt:lpstr>
      </vt:variant>
      <vt:variant>
        <vt:i4>15</vt:i4>
      </vt:variant>
      <vt:variant>
        <vt:lpstr>Embedded OLE Servers</vt:lpstr>
      </vt:variant>
      <vt:variant>
        <vt:i4>5</vt:i4>
      </vt:variant>
      <vt:variant>
        <vt:lpstr>Slide Titles</vt:lpstr>
      </vt:variant>
      <vt:variant>
        <vt:i4>28</vt:i4>
      </vt:variant>
    </vt:vector>
  </HeadingPairs>
  <TitlesOfParts>
    <vt:vector size="48" baseType="lpstr">
      <vt:lpstr>default</vt:lpstr>
      <vt:lpstr>1_default</vt:lpstr>
      <vt:lpstr>2_default</vt:lpstr>
      <vt:lpstr>3_default</vt:lpstr>
      <vt:lpstr>4_default</vt:lpstr>
      <vt:lpstr>5_default</vt:lpstr>
      <vt:lpstr>6_default</vt:lpstr>
      <vt:lpstr>3_VestasExtented</vt:lpstr>
      <vt:lpstr>7_VestasExtented</vt:lpstr>
      <vt:lpstr>27_default</vt:lpstr>
      <vt:lpstr>VestasExtented</vt:lpstr>
      <vt:lpstr>1_VestasExtented</vt:lpstr>
      <vt:lpstr>2_VestasExtented</vt:lpstr>
      <vt:lpstr>2_blank</vt:lpstr>
      <vt:lpstr>7_default</vt:lpstr>
      <vt:lpstr>Chart</vt:lpstr>
      <vt:lpstr>Worksheet</vt:lpstr>
      <vt:lpstr>Wykres</vt:lpstr>
      <vt:lpstr>Dokument</vt:lpstr>
      <vt:lpstr>think-cell Slide</vt:lpstr>
      <vt:lpstr>PowerPoint Presentation</vt:lpstr>
      <vt:lpstr>PowerPoint Presentation</vt:lpstr>
      <vt:lpstr>Vestas  </vt:lpstr>
      <vt:lpstr>Vestas  </vt:lpstr>
      <vt:lpstr>Vestas Poland </vt:lpstr>
      <vt:lpstr>Vestas Poland</vt:lpstr>
      <vt:lpstr>Product Portfolio  VestasOnline® Business</vt:lpstr>
      <vt:lpstr>Vestas Poland Some of our customers</vt:lpstr>
      <vt:lpstr>Rynek energetyki wiatrowej</vt:lpstr>
      <vt:lpstr>Systemy wsparcia energetyki odnawialnej w UE</vt:lpstr>
      <vt:lpstr>Nowe moce w UE, MW</vt:lpstr>
      <vt:lpstr>Przyrost mocy zainstalowanej energetyki wiatrowej na świecie</vt:lpstr>
      <vt:lpstr>Udział energii elektrycznej z EW w zużyciu końcowym</vt:lpstr>
      <vt:lpstr>Elektrownie wiatrowe na obszarach morskich</vt:lpstr>
      <vt:lpstr>Doświadczenia Vestas w rozwoju energetyki wiatrowej</vt:lpstr>
      <vt:lpstr>PowerPoint Presentation</vt:lpstr>
      <vt:lpstr>Charakterystyki probabilistyczne wiatru</vt:lpstr>
      <vt:lpstr>PowerPoint Presentation</vt:lpstr>
      <vt:lpstr>PowerPoint Presentation</vt:lpstr>
      <vt:lpstr>Nowe turbiny Vestas</vt:lpstr>
      <vt:lpstr>Przegląd turbin Vestas</vt:lpstr>
      <vt:lpstr>V112 3.0 </vt:lpstr>
      <vt:lpstr>V112 3.0 </vt:lpstr>
      <vt:lpstr>54.6 metrowe łopaty</vt:lpstr>
      <vt:lpstr>Proces sprzedaży elektrowni wiatrowych – wybrane aspekty</vt:lpstr>
      <vt:lpstr>Sprzedaż turbin</vt:lpstr>
      <vt:lpstr>Etapy projektu farmy wiatrowej</vt:lpstr>
      <vt:lpstr>Ewa Zbierajewska ewzae@vestas.com  Tomasz Surma tasum@vestas.com </vt:lpstr>
    </vt:vector>
  </TitlesOfParts>
  <Company>Vestas Wind Systems 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 Ekstrand</dc:creator>
  <cp:lastModifiedBy>Ewa Zbierajewska</cp:lastModifiedBy>
  <cp:revision>163</cp:revision>
  <cp:lastPrinted>2012-03-20T15:09:24Z</cp:lastPrinted>
  <dcterms:created xsi:type="dcterms:W3CDTF">2011-12-20T12:57:23Z</dcterms:created>
  <dcterms:modified xsi:type="dcterms:W3CDTF">2012-11-06T12:07:03Z</dcterms:modified>
</cp:coreProperties>
</file>